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64"/>
  </p:notesMasterIdLst>
  <p:sldIdLst>
    <p:sldId id="2134808908" r:id="rId5"/>
    <p:sldId id="2134808909" r:id="rId6"/>
    <p:sldId id="2134808910" r:id="rId7"/>
    <p:sldId id="2134808911" r:id="rId8"/>
    <p:sldId id="2134808912" r:id="rId9"/>
    <p:sldId id="2134808913" r:id="rId10"/>
    <p:sldId id="2134808914" r:id="rId11"/>
    <p:sldId id="2134808915" r:id="rId12"/>
    <p:sldId id="2134808916" r:id="rId13"/>
    <p:sldId id="2134808917" r:id="rId14"/>
    <p:sldId id="2134808918" r:id="rId15"/>
    <p:sldId id="2147482341" r:id="rId16"/>
    <p:sldId id="2134808919" r:id="rId17"/>
    <p:sldId id="2134808278" r:id="rId18"/>
    <p:sldId id="2147482342" r:id="rId19"/>
    <p:sldId id="2134808487" r:id="rId20"/>
    <p:sldId id="2134807776" r:id="rId21"/>
    <p:sldId id="2134808277" r:id="rId22"/>
    <p:sldId id="2134808517" r:id="rId23"/>
    <p:sldId id="2134808925" r:id="rId24"/>
    <p:sldId id="2134808515" r:id="rId25"/>
    <p:sldId id="2134808516" r:id="rId26"/>
    <p:sldId id="2134808490" r:id="rId27"/>
    <p:sldId id="2134808498" r:id="rId28"/>
    <p:sldId id="2134808514" r:id="rId29"/>
    <p:sldId id="2134808489" r:id="rId30"/>
    <p:sldId id="2134808492" r:id="rId31"/>
    <p:sldId id="2134808493" r:id="rId32"/>
    <p:sldId id="2134808874" r:id="rId33"/>
    <p:sldId id="2134808900" r:id="rId34"/>
    <p:sldId id="2134808240" r:id="rId35"/>
    <p:sldId id="2134808499" r:id="rId36"/>
    <p:sldId id="2134808500" r:id="rId37"/>
    <p:sldId id="2134808449" r:id="rId38"/>
    <p:sldId id="2134808839" r:id="rId39"/>
    <p:sldId id="2134808486" r:id="rId40"/>
    <p:sldId id="2147482369" r:id="rId41"/>
    <p:sldId id="2134808477" r:id="rId42"/>
    <p:sldId id="2134808504" r:id="rId43"/>
    <p:sldId id="2134808505" r:id="rId44"/>
    <p:sldId id="2134807000" r:id="rId45"/>
    <p:sldId id="2134808508" r:id="rId46"/>
    <p:sldId id="2134808875" r:id="rId47"/>
    <p:sldId id="2134808950" r:id="rId48"/>
    <p:sldId id="2134808971" r:id="rId49"/>
    <p:sldId id="2134808972" r:id="rId50"/>
    <p:sldId id="2134806115" r:id="rId51"/>
    <p:sldId id="2134808979" r:id="rId52"/>
    <p:sldId id="2134808980" r:id="rId53"/>
    <p:sldId id="2134808506" r:id="rId54"/>
    <p:sldId id="2134808507" r:id="rId55"/>
    <p:sldId id="2134808431" r:id="rId56"/>
    <p:sldId id="2134808425" r:id="rId57"/>
    <p:sldId id="2134807507" r:id="rId58"/>
    <p:sldId id="2134807508" r:id="rId59"/>
    <p:sldId id="2134808805" r:id="rId60"/>
    <p:sldId id="2134808775" r:id="rId61"/>
    <p:sldId id="2134808474" r:id="rId62"/>
    <p:sldId id="2147482339" r:id="rId63"/>
  </p:sldIdLst>
  <p:sldSz cx="13716000" cy="10287000"/>
  <p:notesSz cx="6858000" cy="9144000"/>
  <p:embeddedFontLst>
    <p:embeddedFont>
      <p:font typeface="Cambria" panose="02040503050406030204" pitchFamily="18" charset="0"/>
      <p:regular r:id="rId65"/>
      <p:bold r:id="rId66"/>
      <p:italic r:id="rId67"/>
      <p:boldItalic r:id="rId68"/>
    </p:embeddedFont>
    <p:embeddedFont>
      <p:font typeface="Candara" panose="020E0502030303020204" pitchFamily="34" charset="0"/>
      <p:regular r:id="rId69"/>
      <p:bold r:id="rId70"/>
      <p:italic r:id="rId71"/>
      <p:boldItalic r:id="rId72"/>
    </p:embeddedFont>
    <p:embeddedFont>
      <p:font typeface="Carelia" panose="020B0604020202020204" charset="0"/>
      <p:regular r:id="rId73"/>
    </p:embeddedFont>
    <p:embeddedFont>
      <p:font typeface="Dosis" pitchFamily="2" charset="0"/>
      <p:regular r:id="rId74"/>
      <p:bold r:id="rId75"/>
    </p:embeddedFont>
    <p:embeddedFont>
      <p:font typeface="Dosis Bold" charset="0"/>
      <p:regular r:id="rId76"/>
      <p:bold r:id="rId77"/>
    </p:embeddedFont>
    <p:embeddedFont>
      <p:font typeface="KG Primary Penmanship 2" panose="020B0604020202020204" charset="0"/>
      <p:regular r:id="rId78"/>
    </p:embeddedFont>
    <p:embeddedFont>
      <p:font typeface="Montserrat" panose="00000500000000000000" pitchFamily="2" charset="0"/>
      <p:regular r:id="rId79"/>
      <p:bold r:id="rId80"/>
      <p:italic r:id="rId81"/>
      <p:boldItalic r:id="rId82"/>
    </p:embeddedFont>
    <p:embeddedFont>
      <p:font typeface="Traditional Arabic" panose="02020603050405020304" pitchFamily="18" charset="-78"/>
      <p:regular r:id="rId83"/>
      <p:bold r:id="rId84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942C"/>
    <a:srgbClr val="106584"/>
    <a:srgbClr val="7F7F7F"/>
    <a:srgbClr val="F2F2F2"/>
    <a:srgbClr val="8DC63F"/>
    <a:srgbClr val="525252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10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411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font" Target="fonts/font4.fntdata"/><Relationship Id="rId84" Type="http://schemas.openxmlformats.org/officeDocument/2006/relationships/font" Target="fonts/font20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10.fntdata"/><Relationship Id="rId79" Type="http://schemas.openxmlformats.org/officeDocument/2006/relationships/font" Target="fonts/font15.fntdata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5.fntdata"/><Relationship Id="rId77" Type="http://schemas.openxmlformats.org/officeDocument/2006/relationships/font" Target="fonts/font13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8.fntdata"/><Relationship Id="rId80" Type="http://schemas.openxmlformats.org/officeDocument/2006/relationships/font" Target="fonts/font16.fntdata"/><Relationship Id="rId85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3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font" Target="fonts/font6.fntdata"/><Relationship Id="rId75" Type="http://schemas.openxmlformats.org/officeDocument/2006/relationships/font" Target="fonts/font11.fntdata"/><Relationship Id="rId83" Type="http://schemas.openxmlformats.org/officeDocument/2006/relationships/font" Target="fonts/font19.fntdata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font" Target="fonts/font1.fntdata"/><Relationship Id="rId73" Type="http://schemas.openxmlformats.org/officeDocument/2006/relationships/font" Target="fonts/font9.fntdata"/><Relationship Id="rId78" Type="http://schemas.openxmlformats.org/officeDocument/2006/relationships/font" Target="fonts/font14.fntdata"/><Relationship Id="rId81" Type="http://schemas.openxmlformats.org/officeDocument/2006/relationships/font" Target="fonts/font17.fntdata"/><Relationship Id="rId86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12.fntdata"/><Relationship Id="rId7" Type="http://schemas.openxmlformats.org/officeDocument/2006/relationships/slide" Target="slides/slide3.xml"/><Relationship Id="rId71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font" Target="fonts/font2.fntdata"/><Relationship Id="rId87" Type="http://schemas.openxmlformats.org/officeDocument/2006/relationships/theme" Target="theme/theme1.xml"/><Relationship Id="rId61" Type="http://schemas.openxmlformats.org/officeDocument/2006/relationships/slide" Target="slides/slide57.xml"/><Relationship Id="rId82" Type="http://schemas.openxmlformats.org/officeDocument/2006/relationships/font" Target="fonts/font18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3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690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7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7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6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94973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15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6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5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image" Target="../media/image37.png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16.sv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5.png"/><Relationship Id="rId5" Type="http://schemas.openxmlformats.org/officeDocument/2006/relationships/tags" Target="../tags/tag162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8.png"/><Relationship Id="rId5" Type="http://schemas.openxmlformats.org/officeDocument/2006/relationships/tags" Target="../tags/tag170.xml"/><Relationship Id="rId10" Type="http://schemas.openxmlformats.org/officeDocument/2006/relationships/image" Target="../media/image7.svg"/><Relationship Id="rId4" Type="http://schemas.openxmlformats.org/officeDocument/2006/relationships/tags" Target="../tags/tag169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29.sv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5.png"/><Relationship Id="rId2" Type="http://schemas.openxmlformats.org/officeDocument/2006/relationships/tags" Target="../tags/tag173.xml"/><Relationship Id="rId16" Type="http://schemas.openxmlformats.org/officeDocument/2006/relationships/image" Target="../media/image42.pn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image" Target="../media/image5.jpeg"/><Relationship Id="rId5" Type="http://schemas.openxmlformats.org/officeDocument/2006/relationships/tags" Target="../tags/tag176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29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43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5.pn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image" Target="../media/image44.png"/><Relationship Id="rId2" Type="http://schemas.openxmlformats.org/officeDocument/2006/relationships/tags" Target="../tags/tag185.xml"/><Relationship Id="rId16" Type="http://schemas.openxmlformats.org/officeDocument/2006/relationships/image" Target="../media/image23.png"/><Relationship Id="rId20" Type="http://schemas.openxmlformats.org/officeDocument/2006/relationships/image" Target="../media/image47.png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image" Target="../media/image19.svg"/><Relationship Id="rId10" Type="http://schemas.openxmlformats.org/officeDocument/2006/relationships/tags" Target="../tags/tag193.xml"/><Relationship Id="rId19" Type="http://schemas.openxmlformats.org/officeDocument/2006/relationships/image" Target="../media/image46.jpeg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9.png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tags" Target="../tags/tag207.xml"/><Relationship Id="rId17" Type="http://schemas.openxmlformats.org/officeDocument/2006/relationships/image" Target="../media/image48.png"/><Relationship Id="rId2" Type="http://schemas.openxmlformats.org/officeDocument/2006/relationships/tags" Target="../tags/tag197.xml"/><Relationship Id="rId16" Type="http://schemas.openxmlformats.org/officeDocument/2006/relationships/image" Target="../media/image23.png"/><Relationship Id="rId20" Type="http://schemas.openxmlformats.org/officeDocument/2006/relationships/image" Target="../media/image51.jpeg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5" Type="http://schemas.openxmlformats.org/officeDocument/2006/relationships/tags" Target="../tags/tag200.xml"/><Relationship Id="rId15" Type="http://schemas.openxmlformats.org/officeDocument/2006/relationships/image" Target="../media/image19.svg"/><Relationship Id="rId10" Type="http://schemas.openxmlformats.org/officeDocument/2006/relationships/tags" Target="../tags/tag205.xml"/><Relationship Id="rId19" Type="http://schemas.openxmlformats.org/officeDocument/2006/relationships/image" Target="../media/image50.png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8.pn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09.xml"/><Relationship Id="rId16" Type="http://schemas.openxmlformats.org/officeDocument/2006/relationships/image" Target="../media/image52.png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image" Target="../media/image23.png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1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image" Target="../media/image44.png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image" Target="../media/image27.png"/><Relationship Id="rId2" Type="http://schemas.openxmlformats.org/officeDocument/2006/relationships/tags" Target="../tags/tag220.xml"/><Relationship Id="rId16" Type="http://schemas.openxmlformats.org/officeDocument/2006/relationships/image" Target="../media/image47.png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image" Target="../media/image19.svg"/><Relationship Id="rId5" Type="http://schemas.openxmlformats.org/officeDocument/2006/relationships/tags" Target="../tags/tag223.xml"/><Relationship Id="rId15" Type="http://schemas.openxmlformats.org/officeDocument/2006/relationships/image" Target="../media/image46.jpeg"/><Relationship Id="rId10" Type="http://schemas.openxmlformats.org/officeDocument/2006/relationships/image" Target="../media/image18.png"/><Relationship Id="rId4" Type="http://schemas.openxmlformats.org/officeDocument/2006/relationships/tags" Target="../tags/tag222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image" Target="../media/image44.png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27.png"/><Relationship Id="rId2" Type="http://schemas.openxmlformats.org/officeDocument/2006/relationships/tags" Target="../tags/tag228.xml"/><Relationship Id="rId16" Type="http://schemas.openxmlformats.org/officeDocument/2006/relationships/image" Target="../media/image47.png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image" Target="../media/image19.svg"/><Relationship Id="rId5" Type="http://schemas.openxmlformats.org/officeDocument/2006/relationships/tags" Target="../tags/tag231.xml"/><Relationship Id="rId15" Type="http://schemas.openxmlformats.org/officeDocument/2006/relationships/image" Target="../media/image46.jpeg"/><Relationship Id="rId10" Type="http://schemas.openxmlformats.org/officeDocument/2006/relationships/image" Target="../media/image18.png"/><Relationship Id="rId4" Type="http://schemas.openxmlformats.org/officeDocument/2006/relationships/tags" Target="../tags/tag230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image" Target="../media/image19.svg"/><Relationship Id="rId18" Type="http://schemas.openxmlformats.org/officeDocument/2006/relationships/image" Target="../media/image47.png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image" Target="../media/image18.png"/><Relationship Id="rId17" Type="http://schemas.openxmlformats.org/officeDocument/2006/relationships/image" Target="../media/image46.jpeg"/><Relationship Id="rId2" Type="http://schemas.openxmlformats.org/officeDocument/2006/relationships/tags" Target="../tags/tag236.xml"/><Relationship Id="rId16" Type="http://schemas.openxmlformats.org/officeDocument/2006/relationships/image" Target="../media/image45.png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39.xml"/><Relationship Id="rId15" Type="http://schemas.openxmlformats.org/officeDocument/2006/relationships/image" Target="../media/image44.png"/><Relationship Id="rId10" Type="http://schemas.openxmlformats.org/officeDocument/2006/relationships/tags" Target="../tags/tag244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4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image" Target="../media/image27.png"/><Relationship Id="rId5" Type="http://schemas.openxmlformats.org/officeDocument/2006/relationships/tags" Target="../tags/tag249.xml"/><Relationship Id="rId10" Type="http://schemas.openxmlformats.org/officeDocument/2006/relationships/image" Target="../media/image23.png"/><Relationship Id="rId4" Type="http://schemas.openxmlformats.org/officeDocument/2006/relationships/tags" Target="../tags/tag248.xml"/><Relationship Id="rId9" Type="http://schemas.openxmlformats.org/officeDocument/2006/relationships/image" Target="../media/image19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13" Type="http://schemas.openxmlformats.org/officeDocument/2006/relationships/image" Target="../media/image48.png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12" Type="http://schemas.openxmlformats.org/officeDocument/2006/relationships/image" Target="../media/image27.png"/><Relationship Id="rId2" Type="http://schemas.openxmlformats.org/officeDocument/2006/relationships/tags" Target="../tags/tag252.xml"/><Relationship Id="rId16" Type="http://schemas.openxmlformats.org/officeDocument/2006/relationships/image" Target="../media/image51.jpeg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11" Type="http://schemas.openxmlformats.org/officeDocument/2006/relationships/image" Target="../media/image19.svg"/><Relationship Id="rId5" Type="http://schemas.openxmlformats.org/officeDocument/2006/relationships/tags" Target="../tags/tag255.xml"/><Relationship Id="rId15" Type="http://schemas.openxmlformats.org/officeDocument/2006/relationships/image" Target="../media/image50.png"/><Relationship Id="rId10" Type="http://schemas.openxmlformats.org/officeDocument/2006/relationships/image" Target="../media/image18.png"/><Relationship Id="rId4" Type="http://schemas.openxmlformats.org/officeDocument/2006/relationships/tags" Target="../tags/tag25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image" Target="../media/image48.png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image" Target="../media/image23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image" Target="../media/image19.svg"/><Relationship Id="rId5" Type="http://schemas.openxmlformats.org/officeDocument/2006/relationships/tags" Target="../tags/tag263.xml"/><Relationship Id="rId15" Type="http://schemas.openxmlformats.org/officeDocument/2006/relationships/image" Target="../media/image51.jpeg"/><Relationship Id="rId10" Type="http://schemas.openxmlformats.org/officeDocument/2006/relationships/image" Target="../media/image18.png"/><Relationship Id="rId4" Type="http://schemas.openxmlformats.org/officeDocument/2006/relationships/tags" Target="../tags/tag262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image" Target="../media/image23.png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image" Target="../media/image19.svg"/><Relationship Id="rId17" Type="http://schemas.openxmlformats.org/officeDocument/2006/relationships/image" Target="../media/image51.jpeg"/><Relationship Id="rId2" Type="http://schemas.openxmlformats.org/officeDocument/2006/relationships/tags" Target="../tags/tag268.xml"/><Relationship Id="rId16" Type="http://schemas.openxmlformats.org/officeDocument/2006/relationships/image" Target="../media/image50.png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image" Target="../media/image18.png"/><Relationship Id="rId5" Type="http://schemas.openxmlformats.org/officeDocument/2006/relationships/tags" Target="../tags/tag271.xml"/><Relationship Id="rId15" Type="http://schemas.openxmlformats.org/officeDocument/2006/relationships/image" Target="../media/image49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image" Target="../media/image44.png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image" Target="../media/image24.png"/><Relationship Id="rId2" Type="http://schemas.openxmlformats.org/officeDocument/2006/relationships/tags" Target="../tags/tag277.xml"/><Relationship Id="rId16" Type="http://schemas.openxmlformats.org/officeDocument/2006/relationships/image" Target="../media/image47.png"/><Relationship Id="rId1" Type="http://schemas.openxmlformats.org/officeDocument/2006/relationships/tags" Target="../tags/tag276.xml"/><Relationship Id="rId6" Type="http://schemas.openxmlformats.org/officeDocument/2006/relationships/tags" Target="../tags/tag281.xml"/><Relationship Id="rId11" Type="http://schemas.openxmlformats.org/officeDocument/2006/relationships/image" Target="../media/image19.svg"/><Relationship Id="rId5" Type="http://schemas.openxmlformats.org/officeDocument/2006/relationships/tags" Target="../tags/tag280.xml"/><Relationship Id="rId15" Type="http://schemas.openxmlformats.org/officeDocument/2006/relationships/image" Target="../media/image46.jpeg"/><Relationship Id="rId10" Type="http://schemas.openxmlformats.org/officeDocument/2006/relationships/image" Target="../media/image18.png"/><Relationship Id="rId4" Type="http://schemas.openxmlformats.org/officeDocument/2006/relationships/tags" Target="../tags/tag27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image" Target="../media/image48.png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image" Target="../media/image24.png"/><Relationship Id="rId2" Type="http://schemas.openxmlformats.org/officeDocument/2006/relationships/tags" Target="../tags/tag285.xml"/><Relationship Id="rId16" Type="http://schemas.openxmlformats.org/officeDocument/2006/relationships/image" Target="../media/image51.jpeg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image" Target="../media/image19.svg"/><Relationship Id="rId5" Type="http://schemas.openxmlformats.org/officeDocument/2006/relationships/tags" Target="../tags/tag288.xml"/><Relationship Id="rId15" Type="http://schemas.openxmlformats.org/officeDocument/2006/relationships/image" Target="../media/image50.png"/><Relationship Id="rId10" Type="http://schemas.openxmlformats.org/officeDocument/2006/relationships/image" Target="../media/image18.png"/><Relationship Id="rId4" Type="http://schemas.openxmlformats.org/officeDocument/2006/relationships/tags" Target="../tags/tag28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54.png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53.jpe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image" Target="../media/image24.png"/><Relationship Id="rId5" Type="http://schemas.openxmlformats.org/officeDocument/2006/relationships/tags" Target="../tags/tag296.xml"/><Relationship Id="rId10" Type="http://schemas.openxmlformats.org/officeDocument/2006/relationships/image" Target="../media/image19.svg"/><Relationship Id="rId4" Type="http://schemas.openxmlformats.org/officeDocument/2006/relationships/tags" Target="../tags/tag295.xml"/><Relationship Id="rId9" Type="http://schemas.openxmlformats.org/officeDocument/2006/relationships/image" Target="../media/image1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01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tags" Target="../tags/tag304.xml"/><Relationship Id="rId11" Type="http://schemas.openxmlformats.org/officeDocument/2006/relationships/image" Target="../media/image8.png"/><Relationship Id="rId5" Type="http://schemas.openxmlformats.org/officeDocument/2006/relationships/tags" Target="../tags/tag303.xml"/><Relationship Id="rId10" Type="http://schemas.openxmlformats.org/officeDocument/2006/relationships/image" Target="../media/image7.svg"/><Relationship Id="rId4" Type="http://schemas.openxmlformats.org/officeDocument/2006/relationships/tags" Target="../tags/tag302.xml"/><Relationship Id="rId9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image" Target="../media/image29.svg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image" Target="../media/image15.png"/><Relationship Id="rId2" Type="http://schemas.openxmlformats.org/officeDocument/2006/relationships/tags" Target="../tags/tag306.xml"/><Relationship Id="rId16" Type="http://schemas.openxmlformats.org/officeDocument/2006/relationships/image" Target="../media/image42.png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image" Target="../media/image5.jpeg"/><Relationship Id="rId5" Type="http://schemas.openxmlformats.org/officeDocument/2006/relationships/tags" Target="../tags/tag309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image" Target="../media/image40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1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57.png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image" Target="../media/image56.PNG"/><Relationship Id="rId5" Type="http://schemas.openxmlformats.org/officeDocument/2006/relationships/tags" Target="../tags/tag318.xml"/><Relationship Id="rId10" Type="http://schemas.openxmlformats.org/officeDocument/2006/relationships/image" Target="../media/image55.png"/><Relationship Id="rId4" Type="http://schemas.openxmlformats.org/officeDocument/2006/relationships/tags" Target="../tags/tag317.xml"/><Relationship Id="rId9" Type="http://schemas.openxmlformats.org/officeDocument/2006/relationships/image" Target="../media/image19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13" Type="http://schemas.openxmlformats.org/officeDocument/2006/relationships/tags" Target="../tags/tag330.xml"/><Relationship Id="rId18" Type="http://schemas.openxmlformats.org/officeDocument/2006/relationships/image" Target="../media/image55.png"/><Relationship Id="rId3" Type="http://schemas.openxmlformats.org/officeDocument/2006/relationships/tags" Target="../tags/tag322.xml"/><Relationship Id="rId21" Type="http://schemas.openxmlformats.org/officeDocument/2006/relationships/image" Target="../media/image58.png"/><Relationship Id="rId7" Type="http://schemas.openxmlformats.org/officeDocument/2006/relationships/tags" Target="../tags/tag326.xml"/><Relationship Id="rId12" Type="http://schemas.openxmlformats.org/officeDocument/2006/relationships/tags" Target="../tags/tag329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321.xml"/><Relationship Id="rId16" Type="http://schemas.openxmlformats.org/officeDocument/2006/relationships/tags" Target="../tags/tag333.xml"/><Relationship Id="rId20" Type="http://schemas.openxmlformats.org/officeDocument/2006/relationships/image" Target="../media/image57.png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11" Type="http://schemas.openxmlformats.org/officeDocument/2006/relationships/tags" Target="../tags/tag328.xml"/><Relationship Id="rId5" Type="http://schemas.openxmlformats.org/officeDocument/2006/relationships/tags" Target="../tags/tag324.xml"/><Relationship Id="rId15" Type="http://schemas.openxmlformats.org/officeDocument/2006/relationships/tags" Target="../tags/tag332.xml"/><Relationship Id="rId10" Type="http://schemas.openxmlformats.org/officeDocument/2006/relationships/audio" Target="../media/media1.wav"/><Relationship Id="rId19" Type="http://schemas.openxmlformats.org/officeDocument/2006/relationships/image" Target="../media/image56.PNG"/><Relationship Id="rId4" Type="http://schemas.openxmlformats.org/officeDocument/2006/relationships/tags" Target="../tags/tag323.xml"/><Relationship Id="rId9" Type="http://schemas.microsoft.com/office/2007/relationships/media" Target="../media/media1.wav"/><Relationship Id="rId14" Type="http://schemas.openxmlformats.org/officeDocument/2006/relationships/tags" Target="../tags/tag33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36.xml"/><Relationship Id="rId7" Type="http://schemas.openxmlformats.org/officeDocument/2006/relationships/image" Target="../media/image18.png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38.xml"/><Relationship Id="rId10" Type="http://schemas.openxmlformats.org/officeDocument/2006/relationships/image" Target="../media/image55.png"/><Relationship Id="rId4" Type="http://schemas.openxmlformats.org/officeDocument/2006/relationships/tags" Target="../tags/tag337.xml"/><Relationship Id="rId9" Type="http://schemas.openxmlformats.org/officeDocument/2006/relationships/image" Target="../media/image59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image" Target="../media/image61.png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image" Target="../media/image60.pn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image" Target="../media/image19.svg"/><Relationship Id="rId5" Type="http://schemas.openxmlformats.org/officeDocument/2006/relationships/tags" Target="../tags/tag343.xml"/><Relationship Id="rId15" Type="http://schemas.openxmlformats.org/officeDocument/2006/relationships/image" Target="../media/image59.png"/><Relationship Id="rId10" Type="http://schemas.openxmlformats.org/officeDocument/2006/relationships/image" Target="../media/image18.png"/><Relationship Id="rId4" Type="http://schemas.openxmlformats.org/officeDocument/2006/relationships/tags" Target="../tags/tag342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6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13" Type="http://schemas.openxmlformats.org/officeDocument/2006/relationships/image" Target="../media/image64.png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12" Type="http://schemas.openxmlformats.org/officeDocument/2006/relationships/image" Target="../media/image63.pn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19.svg"/><Relationship Id="rId5" Type="http://schemas.openxmlformats.org/officeDocument/2006/relationships/tags" Target="../tags/tag351.xml"/><Relationship Id="rId15" Type="http://schemas.openxmlformats.org/officeDocument/2006/relationships/image" Target="../media/image59.png"/><Relationship Id="rId10" Type="http://schemas.openxmlformats.org/officeDocument/2006/relationships/image" Target="../media/image18.png"/><Relationship Id="rId4" Type="http://schemas.openxmlformats.org/officeDocument/2006/relationships/tags" Target="../tags/tag350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65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57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11" Type="http://schemas.openxmlformats.org/officeDocument/2006/relationships/image" Target="../media/image8.png"/><Relationship Id="rId5" Type="http://schemas.openxmlformats.org/officeDocument/2006/relationships/tags" Target="../tags/tag359.xml"/><Relationship Id="rId10" Type="http://schemas.openxmlformats.org/officeDocument/2006/relationships/image" Target="../media/image7.svg"/><Relationship Id="rId4" Type="http://schemas.openxmlformats.org/officeDocument/2006/relationships/tags" Target="../tags/tag358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368.xml"/><Relationship Id="rId13" Type="http://schemas.openxmlformats.org/officeDocument/2006/relationships/image" Target="../media/image5.jpeg"/><Relationship Id="rId18" Type="http://schemas.openxmlformats.org/officeDocument/2006/relationships/image" Target="../media/image42.png"/><Relationship Id="rId3" Type="http://schemas.openxmlformats.org/officeDocument/2006/relationships/tags" Target="../tags/tag363.xml"/><Relationship Id="rId7" Type="http://schemas.openxmlformats.org/officeDocument/2006/relationships/tags" Target="../tags/tag367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41.svg"/><Relationship Id="rId2" Type="http://schemas.openxmlformats.org/officeDocument/2006/relationships/tags" Target="../tags/tag362.xml"/><Relationship Id="rId16" Type="http://schemas.openxmlformats.org/officeDocument/2006/relationships/image" Target="../media/image40.png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11" Type="http://schemas.openxmlformats.org/officeDocument/2006/relationships/tags" Target="../tags/tag371.xml"/><Relationship Id="rId5" Type="http://schemas.openxmlformats.org/officeDocument/2006/relationships/tags" Target="../tags/tag365.xml"/><Relationship Id="rId15" Type="http://schemas.openxmlformats.org/officeDocument/2006/relationships/image" Target="../media/image29.svg"/><Relationship Id="rId10" Type="http://schemas.openxmlformats.org/officeDocument/2006/relationships/tags" Target="../tags/tag370.xml"/><Relationship Id="rId4" Type="http://schemas.openxmlformats.org/officeDocument/2006/relationships/tags" Target="../tags/tag364.xml"/><Relationship Id="rId9" Type="http://schemas.openxmlformats.org/officeDocument/2006/relationships/tags" Target="../tags/tag369.xml"/><Relationship Id="rId14" Type="http://schemas.openxmlformats.org/officeDocument/2006/relationships/image" Target="../media/image15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4.xml"/><Relationship Id="rId7" Type="http://schemas.openxmlformats.org/officeDocument/2006/relationships/image" Target="../media/image18.png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66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9.xml"/><Relationship Id="rId7" Type="http://schemas.openxmlformats.org/officeDocument/2006/relationships/image" Target="../media/image18.png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81.xml"/><Relationship Id="rId4" Type="http://schemas.openxmlformats.org/officeDocument/2006/relationships/tags" Target="../tags/tag380.xml"/><Relationship Id="rId9" Type="http://schemas.openxmlformats.org/officeDocument/2006/relationships/image" Target="../media/image22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4.xml"/><Relationship Id="rId7" Type="http://schemas.openxmlformats.org/officeDocument/2006/relationships/image" Target="../media/image18.png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86.xml"/><Relationship Id="rId4" Type="http://schemas.openxmlformats.org/officeDocument/2006/relationships/tags" Target="../tags/tag385.xml"/><Relationship Id="rId9" Type="http://schemas.openxmlformats.org/officeDocument/2006/relationships/image" Target="../media/image24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9.xml"/><Relationship Id="rId7" Type="http://schemas.openxmlformats.org/officeDocument/2006/relationships/image" Target="../media/image18.png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91.xml"/><Relationship Id="rId4" Type="http://schemas.openxmlformats.org/officeDocument/2006/relationships/tags" Target="../tags/tag390.xml"/><Relationship Id="rId9" Type="http://schemas.openxmlformats.org/officeDocument/2006/relationships/image" Target="../media/image24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image" Target="../media/image55.png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12" Type="http://schemas.openxmlformats.org/officeDocument/2006/relationships/image" Target="../media/image19.svg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11" Type="http://schemas.openxmlformats.org/officeDocument/2006/relationships/image" Target="../media/image18.png"/><Relationship Id="rId5" Type="http://schemas.openxmlformats.org/officeDocument/2006/relationships/tags" Target="../tags/tag396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395.xml"/><Relationship Id="rId9" Type="http://schemas.openxmlformats.org/officeDocument/2006/relationships/tags" Target="../tags/tag400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13" Type="http://schemas.openxmlformats.org/officeDocument/2006/relationships/image" Target="../media/image23.png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12" Type="http://schemas.openxmlformats.org/officeDocument/2006/relationships/image" Target="../media/image19.svg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image" Target="../media/image18.png"/><Relationship Id="rId5" Type="http://schemas.openxmlformats.org/officeDocument/2006/relationships/tags" Target="../tags/tag405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04.xml"/><Relationship Id="rId9" Type="http://schemas.openxmlformats.org/officeDocument/2006/relationships/tags" Target="../tags/tag409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12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5" Type="http://schemas.openxmlformats.org/officeDocument/2006/relationships/tags" Target="../tags/tag414.xml"/><Relationship Id="rId10" Type="http://schemas.openxmlformats.org/officeDocument/2006/relationships/image" Target="../media/image38.png"/><Relationship Id="rId4" Type="http://schemas.openxmlformats.org/officeDocument/2006/relationships/tags" Target="../tags/tag413.xml"/><Relationship Id="rId9" Type="http://schemas.openxmlformats.org/officeDocument/2006/relationships/image" Target="../media/image19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8.xml"/><Relationship Id="rId7" Type="http://schemas.openxmlformats.org/officeDocument/2006/relationships/image" Target="../media/image18.png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20.xml"/><Relationship Id="rId10" Type="http://schemas.openxmlformats.org/officeDocument/2006/relationships/image" Target="../media/image67.png"/><Relationship Id="rId4" Type="http://schemas.openxmlformats.org/officeDocument/2006/relationships/tags" Target="../tags/tag419.xml"/><Relationship Id="rId9" Type="http://schemas.openxmlformats.org/officeDocument/2006/relationships/image" Target="../media/image23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3.xml"/><Relationship Id="rId7" Type="http://schemas.openxmlformats.org/officeDocument/2006/relationships/image" Target="../media/image18.png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25.xml"/><Relationship Id="rId10" Type="http://schemas.openxmlformats.org/officeDocument/2006/relationships/image" Target="../media/image67.png"/><Relationship Id="rId4" Type="http://schemas.openxmlformats.org/officeDocument/2006/relationships/tags" Target="../tags/tag424.xml"/><Relationship Id="rId9" Type="http://schemas.openxmlformats.org/officeDocument/2006/relationships/image" Target="../media/image68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42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tags" Target="../tags/tag431.xml"/><Relationship Id="rId11" Type="http://schemas.openxmlformats.org/officeDocument/2006/relationships/image" Target="../media/image8.png"/><Relationship Id="rId5" Type="http://schemas.openxmlformats.org/officeDocument/2006/relationships/tags" Target="../tags/tag430.xml"/><Relationship Id="rId10" Type="http://schemas.openxmlformats.org/officeDocument/2006/relationships/image" Target="../media/image7.svg"/><Relationship Id="rId4" Type="http://schemas.openxmlformats.org/officeDocument/2006/relationships/tags" Target="../tags/tag429.xml"/><Relationship Id="rId9" Type="http://schemas.openxmlformats.org/officeDocument/2006/relationships/image" Target="../media/image6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13" Type="http://schemas.openxmlformats.org/officeDocument/2006/relationships/image" Target="../media/image29.svg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12" Type="http://schemas.openxmlformats.org/officeDocument/2006/relationships/image" Target="../media/image15.png"/><Relationship Id="rId2" Type="http://schemas.openxmlformats.org/officeDocument/2006/relationships/tags" Target="../tags/tag433.xml"/><Relationship Id="rId16" Type="http://schemas.openxmlformats.org/officeDocument/2006/relationships/image" Target="../media/image42.png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11" Type="http://schemas.openxmlformats.org/officeDocument/2006/relationships/image" Target="../media/image5.jpeg"/><Relationship Id="rId5" Type="http://schemas.openxmlformats.org/officeDocument/2006/relationships/tags" Target="../tags/tag436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35.xml"/><Relationship Id="rId9" Type="http://schemas.openxmlformats.org/officeDocument/2006/relationships/tags" Target="../tags/tag440.xml"/><Relationship Id="rId1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70.jpeg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12" Type="http://schemas.openxmlformats.org/officeDocument/2006/relationships/image" Target="../media/image69.png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tags" Target="../tags/tag446.xml"/><Relationship Id="rId11" Type="http://schemas.openxmlformats.org/officeDocument/2006/relationships/image" Target="../media/image32.png"/><Relationship Id="rId5" Type="http://schemas.openxmlformats.org/officeDocument/2006/relationships/tags" Target="../tags/tag445.xml"/><Relationship Id="rId10" Type="http://schemas.openxmlformats.org/officeDocument/2006/relationships/image" Target="../media/image19.svg"/><Relationship Id="rId4" Type="http://schemas.openxmlformats.org/officeDocument/2006/relationships/tags" Target="../tags/tag444.xml"/><Relationship Id="rId9" Type="http://schemas.openxmlformats.org/officeDocument/2006/relationships/image" Target="../media/image1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0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11" Type="http://schemas.openxmlformats.org/officeDocument/2006/relationships/image" Target="../media/image39.png"/><Relationship Id="rId5" Type="http://schemas.openxmlformats.org/officeDocument/2006/relationships/tags" Target="../tags/tag452.xml"/><Relationship Id="rId10" Type="http://schemas.openxmlformats.org/officeDocument/2006/relationships/image" Target="../media/image70.jpeg"/><Relationship Id="rId4" Type="http://schemas.openxmlformats.org/officeDocument/2006/relationships/tags" Target="../tags/tag451.xml"/><Relationship Id="rId9" Type="http://schemas.openxmlformats.org/officeDocument/2006/relationships/image" Target="../media/image19.sv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461.xml"/><Relationship Id="rId13" Type="http://schemas.openxmlformats.org/officeDocument/2006/relationships/image" Target="../media/image19.svg"/><Relationship Id="rId3" Type="http://schemas.openxmlformats.org/officeDocument/2006/relationships/tags" Target="../tags/tag456.xml"/><Relationship Id="rId7" Type="http://schemas.openxmlformats.org/officeDocument/2006/relationships/tags" Target="../tags/tag460.xml"/><Relationship Id="rId12" Type="http://schemas.openxmlformats.org/officeDocument/2006/relationships/image" Target="../media/image18.png"/><Relationship Id="rId2" Type="http://schemas.openxmlformats.org/officeDocument/2006/relationships/tags" Target="../tags/tag455.xml"/><Relationship Id="rId16" Type="http://schemas.microsoft.com/office/2007/relationships/hdphoto" Target="../media/hdphoto1.wdp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slideLayout" Target="../slideLayouts/slideLayout18.xml"/><Relationship Id="rId5" Type="http://schemas.openxmlformats.org/officeDocument/2006/relationships/tags" Target="../tags/tag458.xml"/><Relationship Id="rId15" Type="http://schemas.openxmlformats.org/officeDocument/2006/relationships/image" Target="../media/image72.png"/><Relationship Id="rId10" Type="http://schemas.openxmlformats.org/officeDocument/2006/relationships/tags" Target="../tags/tag463.xml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image" Target="../media/image71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6.xml"/><Relationship Id="rId7" Type="http://schemas.openxmlformats.org/officeDocument/2006/relationships/image" Target="../media/image18.png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68.xml"/><Relationship Id="rId10" Type="http://schemas.openxmlformats.org/officeDocument/2006/relationships/image" Target="../media/image73.png"/><Relationship Id="rId4" Type="http://schemas.openxmlformats.org/officeDocument/2006/relationships/tags" Target="../tags/tag467.xml"/><Relationship Id="rId9" Type="http://schemas.openxmlformats.org/officeDocument/2006/relationships/image" Target="../media/image26.jpe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tags" Target="../tags/tag479.xml"/><Relationship Id="rId18" Type="http://schemas.openxmlformats.org/officeDocument/2006/relationships/image" Target="../media/image58.png"/><Relationship Id="rId3" Type="http://schemas.openxmlformats.org/officeDocument/2006/relationships/tags" Target="../tags/tag471.xml"/><Relationship Id="rId7" Type="http://schemas.openxmlformats.org/officeDocument/2006/relationships/audio" Target="../media/media2.mp3"/><Relationship Id="rId12" Type="http://schemas.openxmlformats.org/officeDocument/2006/relationships/tags" Target="../tags/tag478.xml"/><Relationship Id="rId17" Type="http://schemas.openxmlformats.org/officeDocument/2006/relationships/image" Target="../media/image74.gif"/><Relationship Id="rId2" Type="http://schemas.openxmlformats.org/officeDocument/2006/relationships/tags" Target="../tags/tag470.xml"/><Relationship Id="rId16" Type="http://schemas.openxmlformats.org/officeDocument/2006/relationships/image" Target="../media/image19.svg"/><Relationship Id="rId1" Type="http://schemas.openxmlformats.org/officeDocument/2006/relationships/tags" Target="../tags/tag469.xml"/><Relationship Id="rId6" Type="http://schemas.microsoft.com/office/2007/relationships/media" Target="../media/media2.mp3"/><Relationship Id="rId11" Type="http://schemas.openxmlformats.org/officeDocument/2006/relationships/tags" Target="../tags/tag477.xml"/><Relationship Id="rId5" Type="http://schemas.openxmlformats.org/officeDocument/2006/relationships/tags" Target="../tags/tag473.xml"/><Relationship Id="rId15" Type="http://schemas.openxmlformats.org/officeDocument/2006/relationships/image" Target="../media/image18.png"/><Relationship Id="rId10" Type="http://schemas.openxmlformats.org/officeDocument/2006/relationships/tags" Target="../tags/tag476.xml"/><Relationship Id="rId4" Type="http://schemas.openxmlformats.org/officeDocument/2006/relationships/tags" Target="../tags/tag472.xml"/><Relationship Id="rId9" Type="http://schemas.openxmlformats.org/officeDocument/2006/relationships/tags" Target="../tags/tag475.xml"/><Relationship Id="rId14" Type="http://schemas.openxmlformats.org/officeDocument/2006/relationships/slideLayout" Target="../slideLayouts/slideLayout29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487.xml"/><Relationship Id="rId13" Type="http://schemas.openxmlformats.org/officeDocument/2006/relationships/tags" Target="../tags/tag492.xml"/><Relationship Id="rId18" Type="http://schemas.openxmlformats.org/officeDocument/2006/relationships/image" Target="../media/image76.jpeg"/><Relationship Id="rId3" Type="http://schemas.openxmlformats.org/officeDocument/2006/relationships/tags" Target="../tags/tag482.xml"/><Relationship Id="rId21" Type="http://schemas.microsoft.com/office/2007/relationships/hdphoto" Target="../media/hdphoto2.wdp"/><Relationship Id="rId7" Type="http://schemas.openxmlformats.org/officeDocument/2006/relationships/tags" Target="../tags/tag486.xml"/><Relationship Id="rId12" Type="http://schemas.openxmlformats.org/officeDocument/2006/relationships/tags" Target="../tags/tag491.xml"/><Relationship Id="rId17" Type="http://schemas.openxmlformats.org/officeDocument/2006/relationships/image" Target="../media/image75.jpg"/><Relationship Id="rId2" Type="http://schemas.openxmlformats.org/officeDocument/2006/relationships/tags" Target="../tags/tag481.xml"/><Relationship Id="rId16" Type="http://schemas.openxmlformats.org/officeDocument/2006/relationships/image" Target="../media/image19.svg"/><Relationship Id="rId20" Type="http://schemas.openxmlformats.org/officeDocument/2006/relationships/image" Target="../media/image78.png"/><Relationship Id="rId1" Type="http://schemas.openxmlformats.org/officeDocument/2006/relationships/tags" Target="../tags/tag480.xml"/><Relationship Id="rId6" Type="http://schemas.openxmlformats.org/officeDocument/2006/relationships/tags" Target="../tags/tag485.xml"/><Relationship Id="rId11" Type="http://schemas.openxmlformats.org/officeDocument/2006/relationships/tags" Target="../tags/tag490.xml"/><Relationship Id="rId5" Type="http://schemas.openxmlformats.org/officeDocument/2006/relationships/tags" Target="../tags/tag484.xml"/><Relationship Id="rId15" Type="http://schemas.openxmlformats.org/officeDocument/2006/relationships/image" Target="../media/image18.png"/><Relationship Id="rId10" Type="http://schemas.openxmlformats.org/officeDocument/2006/relationships/tags" Target="../tags/tag489.xml"/><Relationship Id="rId19" Type="http://schemas.openxmlformats.org/officeDocument/2006/relationships/image" Target="../media/image77.jpg"/><Relationship Id="rId4" Type="http://schemas.openxmlformats.org/officeDocument/2006/relationships/tags" Target="../tags/tag483.xml"/><Relationship Id="rId9" Type="http://schemas.openxmlformats.org/officeDocument/2006/relationships/tags" Target="../tags/tag488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9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image" Target="../media/image43.png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12" Type="http://schemas.openxmlformats.org/officeDocument/2006/relationships/image" Target="../media/image19.svg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11" Type="http://schemas.openxmlformats.org/officeDocument/2006/relationships/image" Target="../media/image18.png"/><Relationship Id="rId5" Type="http://schemas.openxmlformats.org/officeDocument/2006/relationships/tags" Target="../tags/tag497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96.xml"/><Relationship Id="rId9" Type="http://schemas.openxmlformats.org/officeDocument/2006/relationships/tags" Target="../tags/tag501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13" Type="http://schemas.openxmlformats.org/officeDocument/2006/relationships/image" Target="../media/image3.emf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06.xml"/><Relationship Id="rId15" Type="http://schemas.openxmlformats.org/officeDocument/2006/relationships/image" Target="../media/image80.png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505.xml"/><Relationship Id="rId9" Type="http://schemas.openxmlformats.org/officeDocument/2006/relationships/tags" Target="../tags/tag510.xml"/><Relationship Id="rId14" Type="http://schemas.openxmlformats.org/officeDocument/2006/relationships/hyperlink" Target="https://docs.google.com/forms/d/e/1FAIpQLSeGbEh4eCfj0ri_aqOht0VG2q1xZDER-dmv6wFZwOP759wbuA/formRespons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2 - Séance </a:t>
            </a:r>
            <a:r>
              <a:rPr lang="fr-FR" sz="4001" b="1" dirty="0">
                <a:solidFill>
                  <a:prstClr val="white"/>
                </a:solidFill>
                <a:latin typeface="Dosis Bold"/>
              </a:rPr>
              <a:t>6</a:t>
            </a:r>
            <a:endParaRPr lang="en-US" sz="4001" b="1" dirty="0">
              <a:solidFill>
                <a:prstClr val="white"/>
              </a:solidFill>
              <a:latin typeface="Dosis Bold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592143" y="8574280"/>
            <a:ext cx="5293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 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58911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963526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08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2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478754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830345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  <a:endParaRPr lang="fr-FR" sz="21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67942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67942C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858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505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2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A08482B-FEA8-B81D-619C-DFF9DE4FE49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77843" y="2946315"/>
            <a:ext cx="3787468" cy="53725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B922854-5225-0363-6EBE-0C8F99FCD4D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968076" y="2954889"/>
            <a:ext cx="377984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57CCC88-1E96-530A-8FA6-51E87B3C3B5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8950689" y="2954889"/>
            <a:ext cx="378746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97843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79416-636B-6616-8E5B-0515290CD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DD11EFE-0F3F-AE4E-8437-A08A8B24DBD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C9666BC3-22D0-E365-3C2B-3ED5051312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4BE23AA-62AD-F975-30AB-3B23DCCF01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C06BED5A-34F8-562C-C40A-EBE932FB95A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CD5204-D7FB-A575-6BD3-BED96735AAB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lang="fr-FR" sz="4800" b="1" dirty="0">
                <a:solidFill>
                  <a:srgbClr val="106585"/>
                </a:solidFill>
                <a:latin typeface="Dosis" pitchFamily="2" charset="0"/>
                <a:cs typeface="Calibri" panose="020F0502020204030204" pitchFamily="34" charset="0"/>
              </a:rPr>
              <a:t>Activité 1. Vocabulaire </a:t>
            </a: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3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Lec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4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3217C1A-EFE4-921E-D79E-32F7945FAC8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8820" y="3877171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749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2529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26784" y="4806326"/>
            <a:ext cx="9518986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Réviser 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mots de vocabulaire de la semaine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55974" y="4739422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379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84789-ED0B-0869-940E-0E8EC53A23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348725A-CB40-ABEC-1BE2-1056E75550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576BF1A-7EF6-8E4E-80BE-FB4C1A1296E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3B16AE5-1A4B-EED4-1835-5C0C2797344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337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vons déjà vu ces mots. 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53E6AA49-E62B-1DFA-B8F0-D831190DA6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5" name="ZoneTexte 14">
            <a:extLst>
              <a:ext uri="{FF2B5EF4-FFF2-40B4-BE49-F238E27FC236}">
                <a16:creationId xmlns:a16="http://schemas.microsoft.com/office/drawing/2014/main" id="{928FEC1F-1B4C-1355-1D42-7D6B4AE2B5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81823" y="6221259"/>
            <a:ext cx="2596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des ciseaux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E9C0A7B-854B-225A-2CC4-D1F6E1C49C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9980" y="6221258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une trousse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DFA40EC-111F-C2F4-1B95-C9F0D8B70DA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938143" y="6221257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un crayon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80F7752E-590C-D64C-E95D-5BB70A3E223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40214" y="6214294"/>
            <a:ext cx="23850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des crayons de couleu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BAC71A96-0C80-C368-41BB-19E7752D2C7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5381" y="4098269"/>
            <a:ext cx="1316010" cy="1618129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17175E0F-FB77-C4F5-AE82-CF1A621D4B9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4610" y="4065743"/>
            <a:ext cx="1316010" cy="1618129"/>
          </a:xfrm>
          <a:prstGeom prst="rect">
            <a:avLst/>
          </a:prstGeom>
        </p:spPr>
      </p:pic>
      <p:pic>
        <p:nvPicPr>
          <p:cNvPr id="24" name="Image 23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1F8A619E-275B-4B61-A8E4-1A0116DAF0A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066" y="4213999"/>
            <a:ext cx="1477308" cy="1610445"/>
          </a:xfrm>
          <a:prstGeom prst="rect">
            <a:avLst/>
          </a:prstGeom>
        </p:spPr>
      </p:pic>
      <p:pic>
        <p:nvPicPr>
          <p:cNvPr id="25" name="Image 24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93605C5B-BAB1-4239-E41C-1209C2804D39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42" y="3661350"/>
            <a:ext cx="1863820" cy="229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799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17114179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70394-7175-CD69-49C4-F54DA8495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4CEE426-3FE1-4D38-9918-25C02392BB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A1E18A7-BEFB-9EAD-5F34-E5E272C889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vons déjà vu ces mots. 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8312A846-1533-3614-2D44-84D27082810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C3AA473-7CE1-0A96-B353-C3D7D2E9CFE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3" name="ZoneTexte 12">
            <a:extLst>
              <a:ext uri="{FF2B5EF4-FFF2-40B4-BE49-F238E27FC236}">
                <a16:creationId xmlns:a16="http://schemas.microsoft.com/office/drawing/2014/main" id="{7EF64A56-8FEB-0B35-CD7A-04D3EE0052A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2001" y="6220432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un cahier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91F0249-A669-FE77-CD0A-283C0F1D23B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010380" y="6217259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une feuille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A1D3C5-3459-E018-4591-0FB88950D3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972304" y="6218342"/>
            <a:ext cx="2748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une glace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96570F9-16F8-B05F-5C8C-18C71C16010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083892" y="6217259"/>
            <a:ext cx="2660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215968"/>
                </a:solidFill>
                <a:latin typeface="Dosis" pitchFamily="2" charset="0"/>
              </a:rPr>
              <a:t>une tomate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9823418-DE0E-BCDD-D0AC-98D16719046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7940665" y="3824296"/>
            <a:ext cx="1046172" cy="183248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C052161-1883-7897-5568-6B912F86A90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0549231" y="4155566"/>
            <a:ext cx="1530246" cy="1479719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7633A7F2-09D8-1956-A3C3-891C5AFFD22B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358" y="3493360"/>
            <a:ext cx="2262074" cy="2781383"/>
          </a:xfrm>
          <a:prstGeom prst="rect">
            <a:avLst/>
          </a:prstGeom>
        </p:spPr>
      </p:pic>
      <p:pic>
        <p:nvPicPr>
          <p:cNvPr id="20" name="Image 19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5394F109-370C-454A-C47A-259E47CC062E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504" y="3936935"/>
            <a:ext cx="1758696" cy="191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80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41CBB-B2AA-E5C5-5BE8-D8A58A5B91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>
            <a:extLst>
              <a:ext uri="{FF2B5EF4-FFF2-40B4-BE49-F238E27FC236}">
                <a16:creationId xmlns:a16="http://schemas.microsoft.com/office/drawing/2014/main" id="{4A36BF74-7D14-7794-3686-8D4F3FD057B7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3777690-81C2-78D8-7641-4B9A6D20E8F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DCDDCDD-AFD7-A730-35D1-8CD7CADD4329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DCB4992-FE6B-AF5E-3576-E3DD6977169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F7951824-79FA-FEAE-32AD-E3036680E99F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772032"/>
                <a:chOff x="195880" y="180292"/>
                <a:chExt cx="8769597" cy="772032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9315170B-DBA1-3761-4C1C-1B751D0AECE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897944C-1FA0-16D7-55A4-6AD8A5EE34A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4" y="746104"/>
                  <a:ext cx="8763377" cy="206220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4A332F6-CCD2-0372-9FD7-8B86645643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762392" y="80578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8524CE5-A87A-C0B4-0571-5B7334F3B6C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7967" y="718168"/>
            <a:ext cx="9569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llons jouer au jeu des mots qui bougent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CE80C6C9-5609-7203-9B5D-452695A3B81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5BE16E2B-05C5-6A93-6985-321CC64A0A5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0264809C-393B-5D3F-AD4B-594828419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116765" y="7020212"/>
            <a:ext cx="75125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b="1" dirty="0">
                <a:solidFill>
                  <a:srgbClr val="106584"/>
                </a:solidFill>
              </a:rPr>
              <a:t>Jeu des mots qui bougent</a:t>
            </a:r>
          </a:p>
        </p:txBody>
      </p:sp>
      <p:pic>
        <p:nvPicPr>
          <p:cNvPr id="14" name="Image 13" descr="Une image contenant vert, Graphique, Caractère coloré&#10;&#10;Description générée automatiquement">
            <a:extLst>
              <a:ext uri="{FF2B5EF4-FFF2-40B4-BE49-F238E27FC236}">
                <a16:creationId xmlns:a16="http://schemas.microsoft.com/office/drawing/2014/main" id="{CC51ACAD-3720-23F0-4EEF-B9D11A24A6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9041" y="3656414"/>
            <a:ext cx="2517917" cy="2974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964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80B93-E83E-6CFA-38B5-A19284440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02DE6E5B-7DC7-DBA7-E72D-17731AC20A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26472" y="70433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A9F145B-B5DE-A03E-EE39-5B20827127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62526" y="576203"/>
            <a:ext cx="118872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Observez bien ces images. Je vais bouger deux images. Vous devez les trouver.  </a:t>
            </a:r>
          </a:p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i veut  m’expliquer la règle du jeu en arabe ?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2C47664-4091-284E-74B6-E9EDDBC160A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228654E9-49E8-7049-D8A2-30ABB89E95C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40605" y="452216"/>
            <a:ext cx="1250264" cy="151277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A88F2D5-36A7-8E59-28B3-C931951F9D7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718" y="4410181"/>
            <a:ext cx="1316010" cy="161812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BBE180A-C26B-78CA-2DCB-0BC2296D549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255" y="4334435"/>
            <a:ext cx="1316010" cy="1618129"/>
          </a:xfrm>
          <a:prstGeom prst="rect">
            <a:avLst/>
          </a:prstGeom>
        </p:spPr>
      </p:pic>
      <p:pic>
        <p:nvPicPr>
          <p:cNvPr id="8" name="Image 7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960F6639-8E8B-EE1D-14CA-9D4B6FF9BCC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166" y="4417865"/>
            <a:ext cx="1477308" cy="1610445"/>
          </a:xfrm>
          <a:prstGeom prst="rect">
            <a:avLst/>
          </a:prstGeom>
        </p:spPr>
      </p:pic>
      <p:pic>
        <p:nvPicPr>
          <p:cNvPr id="10" name="Image 9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5858D4D3-9317-7FDA-CDD2-00410D197BA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672" y="3997648"/>
            <a:ext cx="1863820" cy="229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0620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5ACD6-5571-1723-C3D9-0D2572DA8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F503D248-84CA-3B27-5C09-60063E3CBAD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8944B3A-71D6-AF41-49D5-587C89F064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elles sont les images qui ont bougé ?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92C20ADD-56E4-7E34-4DF6-FE5069DA068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9BC2999E-3A56-F118-C0B6-43B59A8692B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40605" y="452216"/>
            <a:ext cx="1250264" cy="151277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09DDF3C-6AEE-84EB-5399-FCAF5A392C2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365" y="4498319"/>
            <a:ext cx="1316010" cy="161812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3945F6EB-7D7C-7CD8-049B-F1EF4BB68D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4594" y="4465793"/>
            <a:ext cx="1316010" cy="1618129"/>
          </a:xfrm>
          <a:prstGeom prst="rect">
            <a:avLst/>
          </a:prstGeom>
        </p:spPr>
      </p:pic>
      <p:pic>
        <p:nvPicPr>
          <p:cNvPr id="7" name="Image 6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C440BFC6-BCCB-42E8-317C-EC9C122F944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050" y="4614049"/>
            <a:ext cx="1477308" cy="1610445"/>
          </a:xfrm>
          <a:prstGeom prst="rect">
            <a:avLst/>
          </a:prstGeom>
        </p:spPr>
      </p:pic>
      <p:pic>
        <p:nvPicPr>
          <p:cNvPr id="8" name="Image 7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49653CD9-E6C3-17D0-0957-9FC71C9456D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526" y="4061400"/>
            <a:ext cx="1863820" cy="229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6138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2A584-CF39-F8E8-8046-BBA7009B1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7C54FFA4-32A5-CE7C-886E-2C992D5210D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2853F84-4996-79BC-C168-75CEF2DD71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Les images qui ont bougé sont « des ciseaux » et « un crayon ».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30FEFC8D-3144-36B4-69AF-E0AD335835C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E62A48C2-3AA1-1842-6A5C-1628BCB266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816E4913-3F72-AC3D-CDE4-6E92F4C96EC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365" y="4498319"/>
            <a:ext cx="1316010" cy="161812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43DBB435-ABA7-E5C8-BA2A-1707E59F9A0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4594" y="4465793"/>
            <a:ext cx="1316010" cy="1618129"/>
          </a:xfrm>
          <a:prstGeom prst="rect">
            <a:avLst/>
          </a:prstGeom>
        </p:spPr>
      </p:pic>
      <p:pic>
        <p:nvPicPr>
          <p:cNvPr id="7" name="Image 6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33F3F6AD-CA75-2A7D-7222-5BAC61F7913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050" y="4614049"/>
            <a:ext cx="1477308" cy="1610445"/>
          </a:xfrm>
          <a:prstGeom prst="rect">
            <a:avLst/>
          </a:prstGeom>
        </p:spPr>
      </p:pic>
      <p:pic>
        <p:nvPicPr>
          <p:cNvPr id="8" name="Image 7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C37CB419-E513-3D05-A8D5-DD86C90CF79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526" y="4061400"/>
            <a:ext cx="1863820" cy="2291701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D3A6AB05-76B7-7862-E1EE-D143F7F1B56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997406" y="4078109"/>
            <a:ext cx="2671927" cy="2533807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F97B21CE-C1BF-CA9D-F5CC-3112D981B83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882403" y="4078109"/>
            <a:ext cx="2671927" cy="2533807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964903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04BBD-DFAD-C014-4DE9-FC2D59045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32982B80-35F1-826D-7284-C0906691F5F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2392" y="80578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BA02FB8-27B5-2D53-619A-31542FA9A3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07967" y="718168"/>
            <a:ext cx="9569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Nous allons jouer au jeu du mot invisible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533D8A4B-4B26-6356-116A-482D756F69B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1FFB2F1E-B163-2637-35DF-5C1E3E36BD3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7DC72B3E-0F90-78C8-AE7F-D28F81BFDAC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11493" y="6522997"/>
            <a:ext cx="690798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0" b="1" dirty="0">
                <a:solidFill>
                  <a:srgbClr val="106584"/>
                </a:solidFill>
              </a:rPr>
              <a:t>Jeu du mot invisible. </a:t>
            </a:r>
          </a:p>
        </p:txBody>
      </p:sp>
      <p:pic>
        <p:nvPicPr>
          <p:cNvPr id="7" name="Image 6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898F2083-85D9-A0ED-F09A-B66C95969A6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441641" y="2561126"/>
            <a:ext cx="2847686" cy="344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6535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0D7E0E-9FE4-59EB-EDD8-FA2517D46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44744BDD-537A-B5BD-F404-5AAE6B6199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82930" y="70433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50A94C2-80A6-4901-A5B4-1468C3A5DC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62526" y="576203"/>
            <a:ext cx="118872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Observez bien ces images. Je vais enlever une image. Vous devez la trouver.  </a:t>
            </a:r>
          </a:p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i veut m’expliquer la règle du jeu en arabe ? 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0D574176-4813-9783-D076-10503586F24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FC9F27A-3FE5-C33F-5B33-0B0E352C508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40605" y="452216"/>
            <a:ext cx="1250264" cy="151277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F6DF531-EEBE-93C7-BBFF-3B70F2651C9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8009437" y="4324359"/>
            <a:ext cx="1046172" cy="183248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10765AA-F5CA-F7C3-5EDD-92F2FF592AA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0618003" y="4655629"/>
            <a:ext cx="1530246" cy="147971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1C11581-D53F-3E07-3EEE-0672EAF2893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30" y="3993423"/>
            <a:ext cx="2262074" cy="2781383"/>
          </a:xfrm>
          <a:prstGeom prst="rect">
            <a:avLst/>
          </a:prstGeom>
        </p:spPr>
      </p:pic>
      <p:pic>
        <p:nvPicPr>
          <p:cNvPr id="8" name="Image 7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FD7DC7BD-1F1C-9196-B8D6-E74F1664C08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276" y="4436998"/>
            <a:ext cx="1758696" cy="191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0614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1A4AE9-A02A-EBA0-7B8D-27049D668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6DF05D6A-EE3E-50C8-2227-461C5E154B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BC3435C-0F7C-E08C-94F9-C6EE516C271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Quel est le mot qui manque?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95F4D11-2BE1-F8B5-5B73-E5C31D7D57C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29490B5C-1B08-E703-ED28-793B63902B9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7EFEDB10-4EE2-3BCE-FDDB-B0F16DA6A82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732074" y="3806759"/>
            <a:ext cx="385763" cy="315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9900" b="1" dirty="0">
                <a:solidFill>
                  <a:schemeClr val="accent6">
                    <a:lumMod val="75000"/>
                  </a:schemeClr>
                </a:solidFill>
                <a:latin typeface="Calibri"/>
              </a:rPr>
              <a:t>?</a:t>
            </a:r>
            <a:endParaRPr lang="fr-MA" sz="166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816D2CD-5DC7-BAC3-130F-1DF238851D1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8009437" y="4324359"/>
            <a:ext cx="1046172" cy="183248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2A8266A-03D1-1142-9684-08EE490976C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30" y="3993423"/>
            <a:ext cx="2262074" cy="2781383"/>
          </a:xfrm>
          <a:prstGeom prst="rect">
            <a:avLst/>
          </a:prstGeom>
        </p:spPr>
      </p:pic>
      <p:pic>
        <p:nvPicPr>
          <p:cNvPr id="10" name="Image 9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481C19AB-FE0E-A429-296A-A9037B1BEEA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276" y="4436998"/>
            <a:ext cx="1758696" cy="191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5362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A97F7-011A-AC4B-8AF4-FE8EDA92B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E71AA1E4-ACC8-9038-EC31-437B235E2B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5CED302-10FB-1154-4C57-FC1D301183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727">
              <a:spcAft>
                <a:spcPts val="600"/>
              </a:spcAft>
              <a:defRPr/>
            </a:pPr>
            <a:r>
              <a:rPr lang="fr-FR" sz="2400" b="1" dirty="0">
                <a:solidFill>
                  <a:srgbClr val="A6A6A6"/>
                </a:solidFill>
                <a:latin typeface="Calibri"/>
              </a:rPr>
              <a:t>Le mot qui manque est « tomate »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7B6F8700-182F-7577-B165-48E3F8A3767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1A86CF8-A863-67A0-1DC9-B6B4CA77938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87794020-9489-4DA0-3CAB-04F604C9500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009437" y="4324359"/>
            <a:ext cx="1046172" cy="183248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758A803-28E5-23DF-7FB5-E729DAC198D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618003" y="4655629"/>
            <a:ext cx="1530246" cy="147971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FA2F8A3-1E46-60FC-F1A5-7BFB1372B6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30" y="3993423"/>
            <a:ext cx="2262074" cy="2781383"/>
          </a:xfrm>
          <a:prstGeom prst="rect">
            <a:avLst/>
          </a:prstGeom>
        </p:spPr>
      </p:pic>
      <p:pic>
        <p:nvPicPr>
          <p:cNvPr id="8" name="Image 7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5B1D9F8B-C9A8-14D3-FC41-F297DD849472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276" y="4436998"/>
            <a:ext cx="1758696" cy="1917192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089E3AC3-7457-ED38-82C1-CAFF0C3FF48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879236" y="3835368"/>
            <a:ext cx="3007779" cy="309749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07321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D86EA-8A3B-A365-AFAE-B7E25982D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16F65C3-1EDF-272E-F1E2-49E85880E6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82930" y="74787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88D5144-2480-91BF-3354-4D7C08BF453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E0D7C17E-65A5-9228-706C-A7E15C9909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39488" y="658696"/>
            <a:ext cx="834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nommer les images ?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A19E497-04F8-1CC3-F261-E61D786AB28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1372169" y="564683"/>
            <a:ext cx="1784910" cy="1102940"/>
          </a:xfrm>
          <a:prstGeom prst="roundRect">
            <a:avLst>
              <a:gd name="adj" fmla="val 31362"/>
            </a:avLst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AECABA3-5A94-0427-410F-F8CF1949E4F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365" y="4498319"/>
            <a:ext cx="1316010" cy="161812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060C4EA9-0917-8721-F74F-0775DE0A2F9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4594" y="4465793"/>
            <a:ext cx="1316010" cy="1618129"/>
          </a:xfrm>
          <a:prstGeom prst="rect">
            <a:avLst/>
          </a:prstGeom>
        </p:spPr>
      </p:pic>
      <p:pic>
        <p:nvPicPr>
          <p:cNvPr id="14" name="Image 13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1EE10143-6DD6-BB88-32DC-88984748F8B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050" y="4614049"/>
            <a:ext cx="1477308" cy="1610445"/>
          </a:xfrm>
          <a:prstGeom prst="rect">
            <a:avLst/>
          </a:prstGeom>
        </p:spPr>
      </p:pic>
      <p:pic>
        <p:nvPicPr>
          <p:cNvPr id="16" name="Image 15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961F4B5-5A89-8C75-6502-ED477C913022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526" y="4061400"/>
            <a:ext cx="1863820" cy="229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798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3764796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5CDBE-A984-03F5-139C-FC55F2DACE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5831EFF4-D596-6FD3-28F2-816751E0CC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82930" y="74787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4CAC401-8A4D-FC7F-63F7-3C924D37E8A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45BCD998-FD59-9732-2C44-6C43CD4B676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39488" y="658696"/>
            <a:ext cx="834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nommer les images ?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F6240CD-8DA3-CF14-DEE5-348C08C423D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1372169" y="564683"/>
            <a:ext cx="1784910" cy="1102940"/>
          </a:xfrm>
          <a:prstGeom prst="roundRect">
            <a:avLst>
              <a:gd name="adj" fmla="val 31362"/>
            </a:avLst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2A3B1B7-A852-3562-37B4-519D84967FD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8009437" y="4324359"/>
            <a:ext cx="1046172" cy="183248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7834781-3CB7-3B8A-EC99-90C996E64A8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0618003" y="4655629"/>
            <a:ext cx="1530246" cy="1479719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9FAA1C4-13D1-B7BA-4546-119031AE11D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30" y="3993423"/>
            <a:ext cx="2262074" cy="2781383"/>
          </a:xfrm>
          <a:prstGeom prst="rect">
            <a:avLst/>
          </a:prstGeom>
        </p:spPr>
      </p:pic>
      <p:pic>
        <p:nvPicPr>
          <p:cNvPr id="8" name="Image 7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E763428E-C6A8-AE81-889C-3D477C5C0375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276" y="4436998"/>
            <a:ext cx="1758696" cy="191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9124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E42BE-0D7D-D35C-EEB4-84654DC632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7E346547-A865-7E96-C019-78E8E05B37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880" y="73191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B28F0CC-2786-B5D4-4D51-731281E7515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11179" y="615993"/>
            <a:ext cx="8341889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re une phrase. </a:t>
            </a:r>
          </a:p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me montrer la bonne image ?</a:t>
            </a:r>
            <a:endParaRPr lang="fr-FR" sz="24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6C5E8E4-D111-B1E8-7265-A511F66DBBF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1372169" y="564683"/>
            <a:ext cx="1784910" cy="1102940"/>
          </a:xfrm>
          <a:prstGeom prst="roundRect">
            <a:avLst>
              <a:gd name="adj" fmla="val 31362"/>
            </a:avLst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607B873C-B862-6EF0-EC19-6A5BC558C5D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76E9389C-4D47-4235-D146-40F9B149E6F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61285" y="2403181"/>
            <a:ext cx="99504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35">
              <a:defRPr/>
            </a:pPr>
            <a:r>
              <a:rPr lang="fr-FR" sz="54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Le coiffeur a des ciseaux. </a:t>
            </a:r>
            <a:endParaRPr lang="fr-FR" sz="5400" b="1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3" name="Image 2" descr="Une image contenant dessin humoristique, dessin, Dessin animé, illustration&#10;&#10;Description générée automatiquement">
            <a:extLst>
              <a:ext uri="{FF2B5EF4-FFF2-40B4-BE49-F238E27FC236}">
                <a16:creationId xmlns:a16="http://schemas.microsoft.com/office/drawing/2014/main" id="{847E82BF-C801-2D23-DA83-B2B9CB2E4E2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2126" y="4657726"/>
            <a:ext cx="3597934" cy="3167617"/>
          </a:xfrm>
          <a:prstGeom prst="rect">
            <a:avLst/>
          </a:prstGeom>
        </p:spPr>
      </p:pic>
      <p:pic>
        <p:nvPicPr>
          <p:cNvPr id="6" name="Image 5" descr="Une image contenant dessin, fruit, Dessin d’enfant, Dessin animé&#10;&#10;Description générée automatiquement">
            <a:extLst>
              <a:ext uri="{FF2B5EF4-FFF2-40B4-BE49-F238E27FC236}">
                <a16:creationId xmlns:a16="http://schemas.microsoft.com/office/drawing/2014/main" id="{6791D53C-ACC7-91BC-7B6F-0A726D13719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5606" y="4914707"/>
            <a:ext cx="2367194" cy="2910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88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F3C1D-8A18-4244-DB8B-AE89DF513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55EDE04-F3C4-BE96-C72B-EB3BB9668F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A66E7FF-7486-5510-44B6-3C04607B67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B4465BE-AB5E-F851-2414-42EA6851B7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92F12827-C543-73B4-D262-43D6D92277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B41346-18CC-C622-C14B-BFD3AFD258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1. </a:t>
            </a:r>
            <a:r>
              <a:rPr lang="fr-FR" sz="48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cabulaire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3. </a:t>
            </a:r>
            <a:r>
              <a:rPr lang="fr-FR" sz="48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Lec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4. </a:t>
            </a:r>
            <a:r>
              <a:rPr lang="fr-FR" sz="48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Écri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069C769-9CF1-D505-0D0D-BCE7485421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8820" y="4931955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4830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C57B7-8B58-B7AB-6B00-7B835A74A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8B80AB1E-6D9B-072D-C1FE-BAF91BF0F8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64A30D85-2F27-A42E-AA77-74556190FB8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7D07EC3B-E5DF-144B-BD83-C78F0D24D61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6AA3CCDC-87C7-D72C-71EA-699789CEDB91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2120CC06-CD2B-099A-0D73-BC13CBB5F3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5B4045B-34AB-0F1F-0510-66A83C58FD3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5BB7B4F1-19BF-6D8F-4C42-134374F4A19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49321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0BA6D18C-B45C-3134-87CD-7B5EA92152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24702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41C9E4A-D71D-1185-6A3A-DB3199281C6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F9A344A-26DD-3EF9-CAB6-B098B1929BE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97182" y="5351924"/>
            <a:ext cx="9779311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rticiper à un dialogue en mobilisant les actes de parole étudiés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2991D094-B820-CFCF-B9F8-7573D758CAE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57971" y="5328174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554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AC7FB-3A1A-E1EC-BAC2-423EE0794C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9C3B2046-CA53-8514-616B-6A5F814C7D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59929" y="77805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7522CA0-1DDB-2EFA-C5DE-1E74107DCE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610679" y="706682"/>
            <a:ext cx="121053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914400">
              <a:spcAft>
                <a:spcPts val="600"/>
              </a:spcAft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</a:rPr>
              <a:t>Karim et Rita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Écoutez bien leur dialogue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19A7117-58FC-9F7C-E7B9-EA3F565B9B5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0" name="Image 9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E04BF8EF-D888-3E61-E1C8-863307E36C1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B95B75EE-6105-45F4-EED9-D6B0D12C343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024FC622-FE87-E044-9A96-0D0A3ED3A46D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48450028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38718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5799" y="749000"/>
            <a:ext cx="92017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iffusion automatique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9B8630FE-ABF4-4EEF-836A-22A2EB589794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46286458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73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596F9-47DB-688D-484A-D15B5942C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B43E4095-B2B6-62C2-06F2-AA61DB84714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685427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DB021DC-6A8E-E6C0-4C74-4D0E042445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8651" y="592289"/>
            <a:ext cx="12139061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vous allez jouer l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 dialogue. 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afficher des images pour vous aider. 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A449718-BA4F-DB5F-D50A-EB9F4836FDF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3528" y="2969938"/>
            <a:ext cx="7493969" cy="484710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186232E-2457-1425-3A9F-0FE81D38DB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820051" y="614060"/>
            <a:ext cx="1274595" cy="140718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EEC7B7E3-3A62-4551-6AF4-F15203E006F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66387104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97889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9817C1-4B44-741B-B708-16517BF524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6781634B-2368-C9A5-24BB-0AC4C83491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79428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4">
            <a:extLst>
              <a:ext uri="{FF2B5EF4-FFF2-40B4-BE49-F238E27FC236}">
                <a16:creationId xmlns:a16="http://schemas.microsoft.com/office/drawing/2014/main" id="{8537BF07-2BB7-AA79-FB6E-63CB1A4891A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31206" y="3426759"/>
            <a:ext cx="8884691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des ciseaux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tu as une gomme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  <a:p>
            <a:pPr>
              <a:spcAft>
                <a:spcPts val="1200"/>
              </a:spcAft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des crayons de couleur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318DA53-6AB3-39D1-7A63-FC7BC408690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2144474" y="3215266"/>
            <a:ext cx="1513124" cy="15167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1686CF1-A22E-B00C-A6C6-9AC0C0C9722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139009" y="4667969"/>
            <a:ext cx="1534896" cy="153489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CF0B5D70-CC2A-9FE1-B4A2-18975547C4B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2154249" y="6272552"/>
            <a:ext cx="1527639" cy="153126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0FF31C8-3508-5CF8-9C48-FC71420883A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58651" y="750205"/>
            <a:ext cx="7825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jouer le dialogue  ?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C7C3EA7-6F81-B0ED-1F24-66AAA4AD02F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14475" y="566827"/>
            <a:ext cx="2263358" cy="1463943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F4A3E1D-5706-0459-C92E-2FCE18C5C9F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66387104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56567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3EA8B-C88E-6038-3D77-391CF6971D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2F24DA0A-7F5D-C69A-5AC5-93556CD1C50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01451" y="82157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4">
            <a:extLst>
              <a:ext uri="{FF2B5EF4-FFF2-40B4-BE49-F238E27FC236}">
                <a16:creationId xmlns:a16="http://schemas.microsoft.com/office/drawing/2014/main" id="{7DA20C54-76C9-CFBE-A3F8-D5114EF7D7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31206" y="3426759"/>
            <a:ext cx="8884691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(…)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tu as </a:t>
            </a: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(…) </a:t>
            </a: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 </a:t>
            </a:r>
          </a:p>
          <a:p>
            <a:pPr>
              <a:spcAft>
                <a:spcPts val="1200"/>
              </a:spcAft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(…)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</p:txBody>
      </p:sp>
      <p:pic>
        <p:nvPicPr>
          <p:cNvPr id="4" name="Image 3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3D57B5AB-BFD4-EBAF-3A43-3E4445C8595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521" y="2979886"/>
            <a:ext cx="1497432" cy="184120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9B15597-9D52-A2DD-BF79-B65E584FB5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6" y="6033896"/>
            <a:ext cx="1580287" cy="1943077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9A152FD-5CBF-C020-72E3-AFF763ED4D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9650" y="4835375"/>
            <a:ext cx="1009608" cy="124138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44022AB5-9FA4-B794-F026-8F7E454DF52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14463" y="750205"/>
            <a:ext cx="76697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jouer le dialogue  ?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45D0282-681C-5681-D8C5-068D604379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14475" y="566827"/>
            <a:ext cx="2263358" cy="1463943"/>
          </a:xfrm>
          <a:prstGeom prst="rect">
            <a:avLst/>
          </a:prstGeom>
        </p:spPr>
      </p:pic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AA6FF03C-5F42-DC86-DAB8-7DF773061B68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66387104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01541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5F53C-E8E3-51E9-3AD1-D5609F6EB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B902715-D28E-18F8-219E-9BB1E5FBF13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03E456CB-E8B0-0979-6EA7-714D57BCDB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F7C5B3E8-12A0-A532-4460-1CA8B5209A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07BF49FC-D5CB-721A-D1BD-456F7249153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3047A3-870B-7081-63C4-387F898FC8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1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cabulaire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lang="fr-FR" sz="4800" b="1" dirty="0">
                <a:solidFill>
                  <a:srgbClr val="106584"/>
                </a:solidFill>
                <a:latin typeface="Dosis" pitchFamily="2" charset="0"/>
                <a:cs typeface="Calibri" panose="020F0502020204030204" pitchFamily="34" charset="0"/>
              </a:rPr>
              <a:t>Activité 3. Lectur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4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A247C07-2E4D-F815-DBCF-6879BDA5BBF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8820" y="5794479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6457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6561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F12DE-848E-8374-BF88-0E7DF6BEC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1522FEB4-4FFD-FD50-641A-50C1EAA977D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853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C6B9713A-1B9D-0787-B778-5B45E0E6811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0EB30CBD-4FAF-12DD-B2DE-C0EB3970B335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C892A7DA-03B9-84FA-CBC7-4717A1F410E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ECF39F5C-9D6D-5DB2-048F-BAD06B0031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CCF14BC4-3E10-930B-A3F5-338CAA0501D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D8C4DCA1-2498-F447-2DF1-08B32EBB30E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190D87A-EF30-53B2-2C94-0DB6916F05E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BA77AE5-F948-DD09-9FAB-086DC5D3CC5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A354530A-8080-E811-6829-98311DD4628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900362" y="4823826"/>
            <a:ext cx="7386637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Identifier et lire la lettre m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6D3E03B-1797-EE67-5450-FB596B729FF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641670" y="4728347"/>
            <a:ext cx="504425" cy="549067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23C63AF3-FE72-26BA-18DF-C42BF14F2F0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900362" y="5781465"/>
            <a:ext cx="7386637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ire des syllabes, des mots et des phrases simples.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6625EF1-4EC3-4FAC-FBCB-3A37516DFA9D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641670" y="5685986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8835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57B53F93-3F33-1905-AFB1-214629EFA37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BB3096F-7673-6BFF-2D74-05AD8519ED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64694" y="683764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us avons déjà vu la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ttre m. Elle fait le son « m »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C407826-ACBE-8F3E-4368-D6D04B2D408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480F831-EA61-A46A-4D70-8FD81F139D0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4266158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1B589BC4-28F7-F35E-9184-85FF90E3AA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8960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MA" sz="23900" b="1" dirty="0">
                <a:solidFill>
                  <a:srgbClr val="106584"/>
                </a:solidFill>
                <a:latin typeface="KG Primary Penmanship 2" panose="020B0604020202020204" charset="0"/>
              </a:rPr>
              <a:t>m   M</a:t>
            </a:r>
            <a:r>
              <a:rPr lang="fr-MA" sz="23900" dirty="0">
                <a:solidFill>
                  <a:srgbClr val="106585"/>
                </a:solidFill>
                <a:latin typeface="Candara" panose="020E0502030303020204" pitchFamily="34" charset="0"/>
              </a:rPr>
              <a:t> </a:t>
            </a:r>
            <a:endParaRPr lang="fr-MA" sz="239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750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05B9B8-F1F2-2EDF-910D-3C57707CD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50DD5467-CA06-88A6-95D3-DCBD4164ACE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63836" y="578762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M - m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Qui veut répéter ?  </a:t>
            </a:r>
            <a:endParaRPr kumimoji="0" lang="fr-FR" sz="225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107470DF-4974-E6DE-10AA-45BDF2D1CF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DD13EF4-1AC4-4357-E17A-2DC7EADFDD6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32461" y="587312"/>
            <a:ext cx="1860771" cy="1241124"/>
          </a:xfrm>
          <a:prstGeom prst="rect">
            <a:avLst/>
          </a:prstGeom>
        </p:spPr>
      </p:pic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AF6D57F-3126-A910-A82B-C02AE4BD20D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0350916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B9E27BB5-2AC6-8F0D-C7E4-59229D1F40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8960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MA" sz="23900" b="1" dirty="0">
                <a:solidFill>
                  <a:srgbClr val="106584"/>
                </a:solidFill>
                <a:latin typeface="KG Primary Penmanship 2" panose="020B0604020202020204" charset="0"/>
              </a:rPr>
              <a:t>m   M</a:t>
            </a:r>
            <a:r>
              <a:rPr lang="fr-MA" sz="23900" dirty="0">
                <a:solidFill>
                  <a:srgbClr val="106585"/>
                </a:solidFill>
                <a:latin typeface="Candara" panose="020E0502030303020204" pitchFamily="34" charset="0"/>
              </a:rPr>
              <a:t> </a:t>
            </a:r>
            <a:endParaRPr lang="fr-MA" sz="239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7860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2AA0C-0494-59F1-C26B-F16953DEBF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27BA94BB-37AA-D3D1-4802-AAC630128D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11060" y="742819"/>
            <a:ext cx="10115550" cy="445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i veut passer au tableau pour lire les syllabes ?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70005B29-B35D-9ED9-7560-402B756602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772111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1960B876-9EF0-B07A-4E61-7639E3F02AC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0851BAC5-FA1B-34F5-65DD-BD05BB2AF4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064AD2D-6D97-1152-5995-8169864DF8E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4358670"/>
            <a:ext cx="12973049" cy="406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Ma   mi   um   </a:t>
            </a: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am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me   mou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ém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</a:t>
            </a: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im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mo   </a:t>
            </a:r>
            <a:r>
              <a:rPr lang="fr-MA" sz="88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oum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mu</a:t>
            </a:r>
          </a:p>
        </p:txBody>
      </p:sp>
    </p:spTree>
    <p:extLst>
      <p:ext uri="{BB962C8B-B14F-4D97-AF65-F5344CB8AC3E}">
        <p14:creationId xmlns:p14="http://schemas.microsoft.com/office/powerpoint/2010/main" val="181992912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BAA6F7-4B52-658D-B9CD-C12366188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E9BD96F6-CB53-6DC6-3E5D-694D0A28D2E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11060" y="742819"/>
            <a:ext cx="10115550" cy="445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i veut passer au tableau pour lire les mots ?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C44F4294-18FF-D898-CAA5-7794B446FC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772111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D5D28FCC-2523-CD58-6F33-B9FD59D6F10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375F7CAF-65D1-DCC3-767A-59EEDE1664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1CD9E5C-6F43-B0E8-C9DB-E26C845FC8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5143500"/>
            <a:ext cx="12973049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ami   Amal   mami</a:t>
            </a:r>
            <a:r>
              <a:rPr lang="fr-MA" sz="8800" b="1" dirty="0">
                <a:solidFill>
                  <a:schemeClr val="bg1">
                    <a:lumMod val="65000"/>
                  </a:schemeClr>
                </a:solidFill>
                <a:latin typeface="KG Primary Penmanship 2" panose="020B0604020202020204" charset="0"/>
              </a:rPr>
              <a:t>e</a:t>
            </a:r>
            <a:r>
              <a:rPr lang="fr-MA" sz="8800" b="1" dirty="0">
                <a:solidFill>
                  <a:srgbClr val="106584"/>
                </a:solidFill>
                <a:latin typeface="KG Primary Penmanship 2" panose="020B0604020202020204" charset="0"/>
              </a:rPr>
              <a:t>   mali</a:t>
            </a:r>
            <a:endParaRPr lang="fr-MA" sz="8800" b="1" dirty="0">
              <a:solidFill>
                <a:schemeClr val="bg1">
                  <a:lumMod val="65000"/>
                </a:schemeClr>
              </a:solidFill>
              <a:latin typeface="KG Primary Penmanship 2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1792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72527-072B-B62F-CFCF-64D4B053A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6B9C6474-3C98-2E6B-6949-442F1C81D37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28725" y="672435"/>
            <a:ext cx="123114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je vais lire une phras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coutez comment je fais : Amal. a. une. amie. Amal a une amie.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0CABAB93-E9A1-8BBC-6125-878A1BE176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96B053E-C39D-C0AD-76A6-901D7227750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47097" y="420140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090085E-F55C-B37B-3C4D-DE980FA5779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3822" y="4081671"/>
            <a:ext cx="12988353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Amal a une ami</a:t>
            </a:r>
            <a:r>
              <a:rPr lang="fr-MA" sz="9600" b="1" dirty="0">
                <a:solidFill>
                  <a:schemeClr val="bg1">
                    <a:lumMod val="75000"/>
                  </a:schemeClr>
                </a:solidFill>
                <a:latin typeface="KG Primary Penmanship 2" panose="020B0604020202020204" charset="0"/>
              </a:rPr>
              <a:t>e</a:t>
            </a: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.</a:t>
            </a:r>
            <a:endParaRPr lang="fr-MA" sz="9600" b="1" dirty="0">
              <a:solidFill>
                <a:schemeClr val="bg1">
                  <a:lumMod val="65000"/>
                </a:schemeClr>
              </a:solidFill>
              <a:latin typeface="KG Primary Penmanship 2" panose="020B0604020202020204" charset="0"/>
            </a:endParaRPr>
          </a:p>
        </p:txBody>
      </p:sp>
      <p:sp>
        <p:nvSpPr>
          <p:cNvPr id="10" name="Parenthèse ouvrante 9">
            <a:extLst>
              <a:ext uri="{FF2B5EF4-FFF2-40B4-BE49-F238E27FC236}">
                <a16:creationId xmlns:a16="http://schemas.microsoft.com/office/drawing/2014/main" id="{12B79AAB-9CE9-E6F8-CB3A-10EB0C3B10D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4041565" y="5126623"/>
            <a:ext cx="303641" cy="215741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1" name="Parenthèse ouvrante 10">
            <a:extLst>
              <a:ext uri="{FF2B5EF4-FFF2-40B4-BE49-F238E27FC236}">
                <a16:creationId xmlns:a16="http://schemas.microsoft.com/office/drawing/2014/main" id="{B6E14E0E-C160-8952-2923-711C913AF00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5760825" y="5931484"/>
            <a:ext cx="303643" cy="547683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2" name="Parenthèse ouvrante 11">
            <a:extLst>
              <a:ext uri="{FF2B5EF4-FFF2-40B4-BE49-F238E27FC236}">
                <a16:creationId xmlns:a16="http://schemas.microsoft.com/office/drawing/2014/main" id="{C684891C-8A8D-9F06-43CE-82555F8CB14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7126261" y="5460455"/>
            <a:ext cx="303644" cy="1489734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3" name="Parenthèse ouvrante 12">
            <a:extLst>
              <a:ext uri="{FF2B5EF4-FFF2-40B4-BE49-F238E27FC236}">
                <a16:creationId xmlns:a16="http://schemas.microsoft.com/office/drawing/2014/main" id="{5580C60D-21A3-BFF3-EC81-5470EF65D79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9036956" y="5460450"/>
            <a:ext cx="303645" cy="1489734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EB20A8F5-381D-406D-7AE0-60A6E36A858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606404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E44AF3-34E5-1F7C-34EE-6824D834D5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846D2AAC-6174-8ACC-E058-14034EF141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04569" y="732794"/>
            <a:ext cx="1231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lisons ensemble : Amal a une amie.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61EABC65-AE3B-3EC7-D6A6-176406351B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639100" y="80416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74BBF4B-7781-7985-C0DF-2E45A8F1B05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72244" y="572419"/>
            <a:ext cx="1747521" cy="1466991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75B1CEF1-D40F-487C-3788-34CAA344EAE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3822" y="4081671"/>
            <a:ext cx="12988353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  <a:defRPr/>
            </a:pP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Amal a une ami</a:t>
            </a:r>
            <a:r>
              <a:rPr lang="fr-MA" sz="9600" b="1" dirty="0">
                <a:solidFill>
                  <a:schemeClr val="bg1">
                    <a:lumMod val="75000"/>
                  </a:schemeClr>
                </a:solidFill>
                <a:latin typeface="KG Primary Penmanship 2" panose="020B0604020202020204" charset="0"/>
              </a:rPr>
              <a:t>e</a:t>
            </a:r>
            <a:r>
              <a:rPr lang="fr-MA" sz="9600" b="1" dirty="0">
                <a:solidFill>
                  <a:srgbClr val="106584"/>
                </a:solidFill>
                <a:latin typeface="KG Primary Penmanship 2" panose="020B0604020202020204" charset="0"/>
              </a:rPr>
              <a:t>.</a:t>
            </a:r>
            <a:endParaRPr lang="fr-MA" sz="9600" b="1" dirty="0">
              <a:solidFill>
                <a:schemeClr val="bg1">
                  <a:lumMod val="65000"/>
                </a:schemeClr>
              </a:solidFill>
              <a:latin typeface="KG Primary Penmanship 2" panose="020B0604020202020204" charset="0"/>
            </a:endParaRPr>
          </a:p>
        </p:txBody>
      </p:sp>
      <p:sp>
        <p:nvSpPr>
          <p:cNvPr id="6" name="Parenthèse ouvrante 5">
            <a:extLst>
              <a:ext uri="{FF2B5EF4-FFF2-40B4-BE49-F238E27FC236}">
                <a16:creationId xmlns:a16="http://schemas.microsoft.com/office/drawing/2014/main" id="{0CDAF834-4F5E-7AAC-0628-71D481765E8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4041565" y="5126623"/>
            <a:ext cx="303641" cy="2157411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id="{9E5AA16F-6EFC-BEC9-320A-31C319A7AF3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5760825" y="5931484"/>
            <a:ext cx="303643" cy="547683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2" name="Parenthèse ouvrante 11">
            <a:extLst>
              <a:ext uri="{FF2B5EF4-FFF2-40B4-BE49-F238E27FC236}">
                <a16:creationId xmlns:a16="http://schemas.microsoft.com/office/drawing/2014/main" id="{16CD795A-BFEC-AFBF-4085-D321E676385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7126261" y="5460455"/>
            <a:ext cx="303644" cy="1489734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3" name="Parenthèse ouvrante 12">
            <a:extLst>
              <a:ext uri="{FF2B5EF4-FFF2-40B4-BE49-F238E27FC236}">
                <a16:creationId xmlns:a16="http://schemas.microsoft.com/office/drawing/2014/main" id="{E410CCC8-5C1C-6713-9405-113CA1B61A0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9036956" y="5460450"/>
            <a:ext cx="303645" cy="1489734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A4FDABCC-813D-FD88-DFA5-A0706C67B36A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99708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CA017BAA-6BDB-904D-1E89-7E185C81E86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46424" y="1092330"/>
            <a:ext cx="99144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les élèves ne disposent pas de manuels, ils lisent, de l’écran projeté, les phrases affichées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FFF8468-C116-9493-5F59-453A7E2197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6AC1C3B-B4BC-F4A8-4769-F9489EE47C5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6424" y="634508"/>
            <a:ext cx="125575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28675"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. Allez à la page 28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5FC0FD0-3D9A-9F94-D322-FC5CBF65006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007278" y="1674697"/>
            <a:ext cx="5701442" cy="806938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4030321-7C00-E285-24E0-82B39F772C0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07279" y="8612303"/>
            <a:ext cx="5701442" cy="71438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35D0AA5E-FC88-3905-C84C-E3FBE254FB77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816445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6970B-275D-32BC-96DE-ABBEA83E0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B24A176D-DEDF-C6C8-BA3B-2D0C33CC092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0198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AB6A69C-8F22-C351-2E33-9542A6D2CD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710514"/>
            <a:ext cx="1194745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6. Je vais lire des phrases. Répétez après moi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CDA0A29-8686-AAB0-E7AF-0C13D9212E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37987" y="647490"/>
            <a:ext cx="1492309" cy="125274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D265A07-A179-3A9F-4BE5-8B419AB7D36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88070" y="4063807"/>
            <a:ext cx="12669102" cy="2159385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66FC199B-B8EF-D090-3F78-99E594674BA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25537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383575-7425-84E1-667E-91CD7F3FF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93947872-4278-3AEC-A5D4-8121D817B80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773411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497D8E4-272A-3499-2F2C-9DFFAF6AF3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610498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lisez les phrases à votre voisin. Ensuite, échangez les rôles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pour vous aider.</a:t>
            </a:r>
          </a:p>
        </p:txBody>
      </p:sp>
      <p:pic>
        <p:nvPicPr>
          <p:cNvPr id="3" name="Image 2" descr="Une image contenant dessin, dessin humoristique, croquis, Dessin d’enfant&#10;&#10;Description générée automatiquement">
            <a:extLst>
              <a:ext uri="{FF2B5EF4-FFF2-40B4-BE49-F238E27FC236}">
                <a16:creationId xmlns:a16="http://schemas.microsoft.com/office/drawing/2014/main" id="{B02A7043-90A7-ED8D-2463-4821E9487FB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6080" y="779977"/>
            <a:ext cx="1598255" cy="118001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A616F4F-76F4-CD0B-0A40-10CCD77D50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88070" y="4063807"/>
            <a:ext cx="12669102" cy="2159385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254E51BC-0C5F-F2ED-9231-98D14B7D260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91470381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4821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403767712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C3F28-3F95-6543-C77E-08F2380C17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6430208-D171-6E76-1139-B75B4305BD4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7CCA8F3-A452-3929-5CC3-A0986AC0C0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C980C79-AA18-4C61-7221-0A455EC4A3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90187BDF-5C30-1984-3D9B-61DF88B210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1" y="1260912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AE5E5A-73DA-80E2-BCA6-3EEAA062334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-17842" y="3793435"/>
            <a:ext cx="13716000" cy="38010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indent="3043238" defTabSz="914400">
              <a:spcAft>
                <a:spcPts val="30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1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cabulaire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indent="3043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2. Participer à un dialogue </a:t>
            </a:r>
          </a:p>
          <a:p>
            <a:pPr lvl="0" indent="3043238" defTabSz="914400">
              <a:spcAft>
                <a:spcPts val="1800"/>
              </a:spcAft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Activité 3. </a:t>
            </a:r>
            <a:r>
              <a:rPr lang="fr-FR" sz="48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Lecture 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indent="3043238" defTabSz="914400">
              <a:spcAft>
                <a:spcPts val="1800"/>
              </a:spcAft>
              <a:defRPr/>
            </a:pPr>
            <a:r>
              <a:rPr lang="fr-FR" sz="4800" b="1" dirty="0">
                <a:solidFill>
                  <a:srgbClr val="106585"/>
                </a:solidFill>
                <a:latin typeface="Dosis" pitchFamily="2" charset="0"/>
                <a:cs typeface="Calibri" panose="020F0502020204030204" pitchFamily="34" charset="0"/>
              </a:rPr>
              <a:t>Activité 4. Écriture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04DEB76-7FEF-AEA8-6955-6E37DEF4775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0506" y="6810380"/>
            <a:ext cx="1497114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5937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FC2F2-F15F-7FDE-DB55-233E4BA9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66AEA9B4-E395-9A1C-9C9E-5C00546246F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986D295A-C150-FB47-1266-15985A7B9D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EC5CABC-DA83-4E5E-9E81-CEB76365A645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E213B070-1694-7EC2-2274-F99AD3F058C0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4B6CD92-32AD-05E5-F2CC-DDFE855689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011624A0-326C-EAD2-DE60-D589EF991E0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 de l’activité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8D17433D-82B7-EFE6-2467-755E51E283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509494E5-D6A2-19B4-583F-48666788C2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BFC76A8-1A01-3D87-32F9-A8E2FFAB4AB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888C3C46-4C61-F2A9-30DA-CC69B876C18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886075" y="5234952"/>
            <a:ext cx="9523640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defTabSz="685800">
              <a:lnSpc>
                <a:spcPts val="3026"/>
              </a:lnSpc>
              <a:spcAft>
                <a:spcPts val="600"/>
              </a:spcAft>
              <a:defRPr/>
            </a:pP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Écrire correctement, sous dictée, des syllabes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32E092A-930D-EB04-0284-82F0E0AC84D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641670" y="5139473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0320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ECF20E-FF45-A43A-6F3A-99B7D48DB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>
            <a:extLst>
              <a:ext uri="{FF2B5EF4-FFF2-40B4-BE49-F238E27FC236}">
                <a16:creationId xmlns:a16="http://schemas.microsoft.com/office/drawing/2014/main" id="{01032046-D188-65BB-F18E-E78D3BE300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DF5453-4153-358A-36D5-F86A47E71BE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A3E845F-604F-C835-1434-6653962B02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6ED62753-EA9F-94B6-0569-6B6CE03A9D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9577B13-6923-0D00-948F-1DE0691CD30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94027" y="1092330"/>
            <a:ext cx="76867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&gt; 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Si les élèves ne disposent pas de manuels, faire la dictée sur les cahiers.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B26FE18-E6EB-99E0-E874-F49D453150B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0C1ED6EC-0B17-F1BD-21E8-38B7AF234226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73824109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0391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8">
            <a:extLst>
              <a:ext uri="{FF2B5EF4-FFF2-40B4-BE49-F238E27FC236}">
                <a16:creationId xmlns:a16="http://schemas.microsoft.com/office/drawing/2014/main" id="{1A6C8F40-046A-D562-4E97-F761077A29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12019" y="790333"/>
            <a:ext cx="364161" cy="31857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2C822F5-D118-EF17-441A-34FD6190E2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0" y="710527"/>
            <a:ext cx="6558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Allez à la page 29.</a:t>
            </a:r>
            <a:endParaRPr kumimoji="0" lang="fr-FR" sz="240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0AA06D1-2946-1283-742C-17523ECD057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56BB37F-0AA3-833D-ABE2-67C8343350C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981935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94C515C3-76A4-EBD9-1423-B514798A9B1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3991934" y="1693201"/>
            <a:ext cx="5732131" cy="810802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122A771-AF24-6F80-A495-8E7177AA8B6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57638" y="7972429"/>
            <a:ext cx="5815011" cy="14144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76386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B3F552-6007-9678-8D38-A4D43FD54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963E346-541A-C89D-31A6-AB93D34C94D1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8BFF8B9-1560-6D88-F969-91B79CB81A3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53FA476C-0281-6B2E-2F44-B7302C656507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E3754BBC-E040-2E9A-6842-336E3D237033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07F4B91F-3791-F04A-0CE4-A4D9A3AF1E4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2" name="Rectangle : coins arrondis 11">
                  <a:extLst>
                    <a:ext uri="{FF2B5EF4-FFF2-40B4-BE49-F238E27FC236}">
                      <a16:creationId xmlns:a16="http://schemas.microsoft.com/office/drawing/2014/main" id="{B6EAE8A6-D8D2-1D2B-D9AA-C58831B509CB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1E3B217F-C9D7-C681-2794-78AC9F446E7D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" name="Freeform 8">
            <a:extLst>
              <a:ext uri="{FF2B5EF4-FFF2-40B4-BE49-F238E27FC236}">
                <a16:creationId xmlns:a16="http://schemas.microsoft.com/office/drawing/2014/main" id="{A833183A-43AA-8BA4-2B4B-28A6146737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43747" y="738856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90">
              <a:defRPr/>
            </a:pPr>
            <a:endParaRPr lang="fr-MA" sz="135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A85C68D-8DED-8C9D-E7AE-1C67F4328CC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59298" y="604276"/>
            <a:ext cx="11947455" cy="777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</a:rPr>
              <a:t>Exercice 4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. Écris sur les points : 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ma – mi – mo – mu – me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03B6374-69C7-2119-4162-37E9FACF4D4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257215" y="3687675"/>
            <a:ext cx="11034716" cy="3071126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F6C7BD44-6F33-83BF-39E3-D5C0B344BE5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746" b="99153" l="0" r="98833">
                        <a14:foregroundMark x1="3993" y1="70976" x2="778" y2="75424"/>
                        <a14:foregroundMark x1="43969" y1="15678" x2="28738" y2="36747"/>
                        <a14:foregroundMark x1="44747" y1="15678" x2="76923" y2="43383"/>
                        <a14:foregroundMark x1="95322" y1="77542" x2="98833" y2="84322"/>
                        <a14:foregroundMark x1="95029" y1="76976" x2="95322" y2="77542"/>
                        <a14:foregroundMark x1="58755" y1="25424" x2="52140" y2="95339"/>
                        <a14:foregroundMark x1="52140" y1="95339" x2="52140" y2="95339"/>
                        <a14:foregroundMark x1="50584" y1="36017" x2="14397" y2="89407"/>
                        <a14:foregroundMark x1="4972" y1="72157" x2="4280" y2="72881"/>
                        <a14:foregroundMark x1="8778" y1="68174" x2="8600" y2="68360"/>
                        <a14:foregroundMark x1="43969" y1="31356" x2="34436" y2="41330"/>
                        <a14:foregroundMark x1="8791" y1="76528" x2="29961" y2="93644"/>
                        <a14:foregroundMark x1="4280" y1="72881" x2="8206" y2="76055"/>
                        <a14:foregroundMark x1="29961" y1="93644" x2="67315" y2="91102"/>
                        <a14:foregroundMark x1="67315" y1="91102" x2="81328" y2="73038"/>
                        <a14:foregroundMark x1="73460" y1="45646" x2="62257" y2="27542"/>
                        <a14:foregroundMark x1="62257" y1="27542" x2="30350" y2="28814"/>
                        <a14:foregroundMark x1="8795" y1="68188" x2="8661" y2="68433"/>
                        <a14:foregroundMark x1="30350" y1="28814" x2="26842" y2="35222"/>
                        <a14:foregroundMark x1="7517" y1="75225" x2="20233" y2="98305"/>
                        <a14:foregroundMark x1="20233" y1="98305" x2="98833" y2="99153"/>
                        <a14:foregroundMark x1="98833" y1="99153" x2="96498" y2="84322"/>
                        <a14:foregroundMark x1="68482" y1="79661" x2="24125" y2="86864"/>
                        <a14:foregroundMark x1="28794" y1="67373" x2="59533" y2="86017"/>
                        <a14:foregroundMark x1="40078" y1="56780" x2="25681" y2="81356"/>
                        <a14:foregroundMark x1="7782" y1="93644" x2="24125" y2="96610"/>
                        <a14:foregroundMark x1="10117" y1="99153" x2="19844" y2="81356"/>
                        <a14:backgroundMark x1="31518" y1="38983" x2="7782" y2="67373"/>
                        <a14:backgroundMark x1="7782" y1="67373" x2="3113" y2="69915"/>
                        <a14:backgroundMark x1="73930" y1="45339" x2="94163" y2="77542"/>
                        <a14:backgroundMark x1="94163" y1="77542" x2="94163" y2="7754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18928" y="549104"/>
            <a:ext cx="1772569" cy="1627727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93D4F501-E497-73CC-FD18-E461AAA6FDE1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2981935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270954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488C6-F760-1313-1336-587D9F760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CA64F278-A0C1-6FA8-BB78-F1657E24EBC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75246" y="757561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90">
              <a:defRPr/>
            </a:pPr>
            <a:endParaRPr lang="fr-MA" sz="135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7CE9AA1-3631-11F9-A95F-C1808F8226C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Corrigez !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</a:rPr>
              <a:t>Je vais circuler entre les rangs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 pour vérifier votre écriture. 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</a:rPr>
              <a:t>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BC4B493-540B-7B52-BE44-D40A2399415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0C55315-7E6C-66A1-441C-2484E6735A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9819353"/>
              </p:ext>
            </p:extLst>
          </p:nvPr>
        </p:nvGraphicFramePr>
        <p:xfrm>
          <a:off x="685799" y="-22122"/>
          <a:ext cx="1235937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843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  <a:gridCol w="3089843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Vocabulai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Participer à un dialogu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3.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4. Écriture 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ADE29E44-E353-1AFD-0159-3DCDF502B34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68045" y="3497993"/>
            <a:ext cx="11994880" cy="3291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6569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!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Au revoir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7" y="1287662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7" y="1287662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13728" y="8681310"/>
            <a:ext cx="96491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3" tIns="51413" rIns="102863" bIns="51413" anchor="ctr" anchorCtr="0">
            <a:noAutofit/>
          </a:bodyPr>
          <a:lstStyle/>
          <a:p>
            <a:pPr algn="ctr" defTabSz="1371567">
              <a:buClr>
                <a:srgbClr val="000000"/>
              </a:buClr>
              <a:buSzPts val="1800"/>
              <a:defRPr/>
            </a:pPr>
            <a:endParaRPr sz="3150" b="1" kern="0">
              <a:solidFill>
                <a:srgbClr val="000000"/>
              </a:solidFill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6336" y="8529247"/>
            <a:ext cx="3148070" cy="415199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700">
              <a:defRPr/>
            </a:pPr>
            <a:endParaRPr lang="fr-FR" sz="2250" b="1">
              <a:solidFill>
                <a:srgbClr val="FFFFFF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6336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lang="en-GB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ctr" defTabSz="1028700" rtl="1"/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(استمارة موجهة للأساتذة)</a:t>
            </a:r>
            <a:endParaRPr lang="fr-FR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086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ولوج عبر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hlinkClick r:id="rId14"/>
              </a:rPr>
              <a:t>الرابط أسفله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: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912436" y="3179077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مسح رمز الاستجابة السريعة 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(</a:t>
            </a:r>
            <a:r>
              <a:rPr lang="en-GB" sz="3600" b="1" dirty="0" err="1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Qr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code)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08659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و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72281" y="5930679"/>
            <a:ext cx="733991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700"/>
            <a:r>
              <a:rPr lang="fr-FR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10540" y="4244657"/>
            <a:ext cx="4547729" cy="4547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9682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697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515882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3493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</TotalTime>
  <Words>1785</Words>
  <PresentationFormat>Personnalisé</PresentationFormat>
  <Paragraphs>349</Paragraphs>
  <Slides>59</Slides>
  <Notes>1</Notes>
  <HiddenSlides>0</HiddenSlides>
  <MMClips>2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9</vt:i4>
      </vt:variant>
    </vt:vector>
  </HeadingPairs>
  <TitlesOfParts>
    <vt:vector size="76" baseType="lpstr">
      <vt:lpstr>Carelia</vt:lpstr>
      <vt:lpstr>Montserrat</vt:lpstr>
      <vt:lpstr>Dosis</vt:lpstr>
      <vt:lpstr>Helvetica Neue Light</vt:lpstr>
      <vt:lpstr>Calibri</vt:lpstr>
      <vt:lpstr>Traditional Arabic</vt:lpstr>
      <vt:lpstr>Calibri </vt:lpstr>
      <vt:lpstr>Dosis Bold</vt:lpstr>
      <vt:lpstr>Arial</vt:lpstr>
      <vt:lpstr>Candara</vt:lpstr>
      <vt:lpstr>KG Primary Penmanship 2</vt:lpstr>
      <vt:lpstr>Cambria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3T17:41:30Z</dcterms:modified>
</cp:coreProperties>
</file>